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3" r:id="rId2"/>
  </p:sldMasterIdLst>
  <p:notesMasterIdLst>
    <p:notesMasterId r:id="rId33"/>
  </p:notesMasterIdLst>
  <p:sldIdLst>
    <p:sldId id="3040" r:id="rId3"/>
    <p:sldId id="759" r:id="rId4"/>
    <p:sldId id="567" r:id="rId5"/>
    <p:sldId id="274" r:id="rId6"/>
    <p:sldId id="313" r:id="rId7"/>
    <p:sldId id="2808" r:id="rId8"/>
    <p:sldId id="3046" r:id="rId9"/>
    <p:sldId id="319" r:id="rId10"/>
    <p:sldId id="2864" r:id="rId11"/>
    <p:sldId id="3051" r:id="rId12"/>
    <p:sldId id="3047" r:id="rId13"/>
    <p:sldId id="3048" r:id="rId14"/>
    <p:sldId id="3049" r:id="rId15"/>
    <p:sldId id="2866" r:id="rId16"/>
    <p:sldId id="290" r:id="rId17"/>
    <p:sldId id="301" r:id="rId18"/>
    <p:sldId id="315" r:id="rId19"/>
    <p:sldId id="3020" r:id="rId20"/>
    <p:sldId id="3050" r:id="rId21"/>
    <p:sldId id="280" r:id="rId22"/>
    <p:sldId id="760" r:id="rId23"/>
    <p:sldId id="763" r:id="rId24"/>
    <p:sldId id="465" r:id="rId25"/>
    <p:sldId id="765" r:id="rId26"/>
    <p:sldId id="339" r:id="rId27"/>
    <p:sldId id="2954" r:id="rId28"/>
    <p:sldId id="658" r:id="rId29"/>
    <p:sldId id="3033" r:id="rId30"/>
    <p:sldId id="309" r:id="rId31"/>
    <p:sldId id="3045" r:id="rId32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E9ED"/>
    <a:srgbClr val="0A2B71"/>
    <a:srgbClr val="E5EDEE"/>
    <a:srgbClr val="E4F0F2"/>
    <a:srgbClr val="092B71"/>
    <a:srgbClr val="BBA780"/>
    <a:srgbClr val="16469E"/>
    <a:srgbClr val="17479F"/>
    <a:srgbClr val="EBEDF1"/>
    <a:srgbClr val="E5E8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2EB853-F4CC-43EB-A0AC-741912F815A7}" v="16" dt="2024-10-01T14:27:50.605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15"/>
    <p:restoredTop sz="94808"/>
  </p:normalViewPr>
  <p:slideViewPr>
    <p:cSldViewPr snapToGrid="0">
      <p:cViewPr varScale="1">
        <p:scale>
          <a:sx n="65" d="100"/>
          <a:sy n="65" d="100"/>
        </p:scale>
        <p:origin x="652" y="60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microsoft.com/office/2015/10/relationships/revisionInfo" Target="revisionInfo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 Spyridis" userId="04b33785-a609-4784-b068-1cdf6fc923dc" providerId="ADAL" clId="{982EB853-F4CC-43EB-A0AC-741912F815A7}"/>
    <pc:docChg chg="custSel addSld delSld modSld">
      <pc:chgData name="Maria Spyridis" userId="04b33785-a609-4784-b068-1cdf6fc923dc" providerId="ADAL" clId="{982EB853-F4CC-43EB-A0AC-741912F815A7}" dt="2024-10-01T14:29:23.660" v="195" actId="1076"/>
      <pc:docMkLst>
        <pc:docMk/>
      </pc:docMkLst>
      <pc:sldChg chg="modSp mod">
        <pc:chgData name="Maria Spyridis" userId="04b33785-a609-4784-b068-1cdf6fc923dc" providerId="ADAL" clId="{982EB853-F4CC-43EB-A0AC-741912F815A7}" dt="2024-10-01T14:29:23.660" v="195" actId="1076"/>
        <pc:sldMkLst>
          <pc:docMk/>
          <pc:sldMk cId="0" sldId="280"/>
        </pc:sldMkLst>
        <pc:grpChg chg="mod">
          <ac:chgData name="Maria Spyridis" userId="04b33785-a609-4784-b068-1cdf6fc923dc" providerId="ADAL" clId="{982EB853-F4CC-43EB-A0AC-741912F815A7}" dt="2024-10-01T14:29:23.660" v="195" actId="1076"/>
          <ac:grpSpMkLst>
            <pc:docMk/>
            <pc:sldMk cId="0" sldId="280"/>
            <ac:grpSpMk id="35843" creationId="{CF051CC9-3079-3111-2558-C2BD61DDF893}"/>
          </ac:grpSpMkLst>
        </pc:grpChg>
      </pc:sldChg>
      <pc:sldChg chg="del">
        <pc:chgData name="Maria Spyridis" userId="04b33785-a609-4784-b068-1cdf6fc923dc" providerId="ADAL" clId="{982EB853-F4CC-43EB-A0AC-741912F815A7}" dt="2024-10-01T06:03:27.617" v="2" actId="47"/>
        <pc:sldMkLst>
          <pc:docMk/>
          <pc:sldMk cId="50310172" sldId="302"/>
        </pc:sldMkLst>
      </pc:sldChg>
      <pc:sldChg chg="del">
        <pc:chgData name="Maria Spyridis" userId="04b33785-a609-4784-b068-1cdf6fc923dc" providerId="ADAL" clId="{982EB853-F4CC-43EB-A0AC-741912F815A7}" dt="2024-10-01T06:17:55.304" v="68" actId="2696"/>
        <pc:sldMkLst>
          <pc:docMk/>
          <pc:sldMk cId="813491377" sldId="309"/>
        </pc:sldMkLst>
      </pc:sldChg>
      <pc:sldChg chg="del">
        <pc:chgData name="Maria Spyridis" userId="04b33785-a609-4784-b068-1cdf6fc923dc" providerId="ADAL" clId="{982EB853-F4CC-43EB-A0AC-741912F815A7}" dt="2024-10-01T06:17:28.631" v="67" actId="2696"/>
        <pc:sldMkLst>
          <pc:docMk/>
          <pc:sldMk cId="1487510015" sldId="309"/>
        </pc:sldMkLst>
      </pc:sldChg>
      <pc:sldChg chg="del">
        <pc:chgData name="Maria Spyridis" userId="04b33785-a609-4784-b068-1cdf6fc923dc" providerId="ADAL" clId="{982EB853-F4CC-43EB-A0AC-741912F815A7}" dt="2024-10-01T06:16:21.385" v="51" actId="2696"/>
        <pc:sldMkLst>
          <pc:docMk/>
          <pc:sldMk cId="1693104180" sldId="319"/>
        </pc:sldMkLst>
      </pc:sldChg>
      <pc:sldChg chg="modSp mod">
        <pc:chgData name="Maria Spyridis" userId="04b33785-a609-4784-b068-1cdf6fc923dc" providerId="ADAL" clId="{982EB853-F4CC-43EB-A0AC-741912F815A7}" dt="2024-10-01T14:19:21.639" v="145" actId="255"/>
        <pc:sldMkLst>
          <pc:docMk/>
          <pc:sldMk cId="2687890309" sldId="319"/>
        </pc:sldMkLst>
        <pc:spChg chg="mod">
          <ac:chgData name="Maria Spyridis" userId="04b33785-a609-4784-b068-1cdf6fc923dc" providerId="ADAL" clId="{982EB853-F4CC-43EB-A0AC-741912F815A7}" dt="2024-10-01T06:16:52.619" v="66" actId="20577"/>
          <ac:spMkLst>
            <pc:docMk/>
            <pc:sldMk cId="2687890309" sldId="319"/>
            <ac:spMk id="2" creationId="{D735F7F3-C1B5-4B60-A00A-4EB618DDFB5A}"/>
          </ac:spMkLst>
        </pc:spChg>
        <pc:spChg chg="mod">
          <ac:chgData name="Maria Spyridis" userId="04b33785-a609-4784-b068-1cdf6fc923dc" providerId="ADAL" clId="{982EB853-F4CC-43EB-A0AC-741912F815A7}" dt="2024-10-01T14:18:46.918" v="141" actId="255"/>
          <ac:spMkLst>
            <pc:docMk/>
            <pc:sldMk cId="2687890309" sldId="319"/>
            <ac:spMk id="5" creationId="{9D995172-D4AD-4F93-8C03-5BB0D7C23E89}"/>
          </ac:spMkLst>
        </pc:spChg>
        <pc:spChg chg="mod">
          <ac:chgData name="Maria Spyridis" userId="04b33785-a609-4784-b068-1cdf6fc923dc" providerId="ADAL" clId="{982EB853-F4CC-43EB-A0AC-741912F815A7}" dt="2024-10-01T14:18:56.090" v="142" actId="255"/>
          <ac:spMkLst>
            <pc:docMk/>
            <pc:sldMk cId="2687890309" sldId="319"/>
            <ac:spMk id="11" creationId="{20C11AE2-FB5C-495C-97DE-DEE041779648}"/>
          </ac:spMkLst>
        </pc:spChg>
        <pc:spChg chg="mod">
          <ac:chgData name="Maria Spyridis" userId="04b33785-a609-4784-b068-1cdf6fc923dc" providerId="ADAL" clId="{982EB853-F4CC-43EB-A0AC-741912F815A7}" dt="2024-10-01T14:19:06.491" v="143" actId="255"/>
          <ac:spMkLst>
            <pc:docMk/>
            <pc:sldMk cId="2687890309" sldId="319"/>
            <ac:spMk id="17" creationId="{29BAA043-AEBF-4C43-8DE8-18F63CCAFA87}"/>
          </ac:spMkLst>
        </pc:spChg>
        <pc:spChg chg="mod">
          <ac:chgData name="Maria Spyridis" userId="04b33785-a609-4784-b068-1cdf6fc923dc" providerId="ADAL" clId="{982EB853-F4CC-43EB-A0AC-741912F815A7}" dt="2024-10-01T14:19:21.639" v="145" actId="255"/>
          <ac:spMkLst>
            <pc:docMk/>
            <pc:sldMk cId="2687890309" sldId="319"/>
            <ac:spMk id="23" creationId="{F7D72C7D-C4DB-4691-9E40-0A7D44D2AD31}"/>
          </ac:spMkLst>
        </pc:spChg>
        <pc:spChg chg="mod">
          <ac:chgData name="Maria Spyridis" userId="04b33785-a609-4784-b068-1cdf6fc923dc" providerId="ADAL" clId="{982EB853-F4CC-43EB-A0AC-741912F815A7}" dt="2024-10-01T14:18:35.211" v="140" actId="14100"/>
          <ac:spMkLst>
            <pc:docMk/>
            <pc:sldMk cId="2687890309" sldId="319"/>
            <ac:spMk id="29" creationId="{8FB60A89-9FC4-4807-B542-BA3830CAF096}"/>
          </ac:spMkLst>
        </pc:spChg>
      </pc:sldChg>
      <pc:sldChg chg="modNotesTx">
        <pc:chgData name="Maria Spyridis" userId="04b33785-a609-4784-b068-1cdf6fc923dc" providerId="ADAL" clId="{982EB853-F4CC-43EB-A0AC-741912F815A7}" dt="2024-10-01T14:17:00.584" v="116" actId="20577"/>
        <pc:sldMkLst>
          <pc:docMk/>
          <pc:sldMk cId="0" sldId="567"/>
        </pc:sldMkLst>
      </pc:sldChg>
      <pc:sldChg chg="modSp mod">
        <pc:chgData name="Maria Spyridis" userId="04b33785-a609-4784-b068-1cdf6fc923dc" providerId="ADAL" clId="{982EB853-F4CC-43EB-A0AC-741912F815A7}" dt="2024-10-01T14:16:30.243" v="69" actId="14100"/>
        <pc:sldMkLst>
          <pc:docMk/>
          <pc:sldMk cId="889491508" sldId="759"/>
        </pc:sldMkLst>
        <pc:spChg chg="mod">
          <ac:chgData name="Maria Spyridis" userId="04b33785-a609-4784-b068-1cdf6fc923dc" providerId="ADAL" clId="{982EB853-F4CC-43EB-A0AC-741912F815A7}" dt="2024-10-01T06:16:07.580" v="50" actId="20577"/>
          <ac:spMkLst>
            <pc:docMk/>
            <pc:sldMk cId="889491508" sldId="759"/>
            <ac:spMk id="15" creationId="{0F3A5C36-3E92-44C1-9503-C922D812DF73}"/>
          </ac:spMkLst>
        </pc:spChg>
        <pc:spChg chg="mod">
          <ac:chgData name="Maria Spyridis" userId="04b33785-a609-4784-b068-1cdf6fc923dc" providerId="ADAL" clId="{982EB853-F4CC-43EB-A0AC-741912F815A7}" dt="2024-10-01T06:15:48.642" v="35" actId="20577"/>
          <ac:spMkLst>
            <pc:docMk/>
            <pc:sldMk cId="889491508" sldId="759"/>
            <ac:spMk id="16" creationId="{588C622A-3922-4358-B38E-DF2CB351E7AC}"/>
          </ac:spMkLst>
        </pc:spChg>
        <pc:spChg chg="mod">
          <ac:chgData name="Maria Spyridis" userId="04b33785-a609-4784-b068-1cdf6fc923dc" providerId="ADAL" clId="{982EB853-F4CC-43EB-A0AC-741912F815A7}" dt="2024-10-01T14:16:30.243" v="69" actId="14100"/>
          <ac:spMkLst>
            <pc:docMk/>
            <pc:sldMk cId="889491508" sldId="759"/>
            <ac:spMk id="77" creationId="{53353170-0D74-46DF-EEBA-22485B0B7D35}"/>
          </ac:spMkLst>
        </pc:spChg>
      </pc:sldChg>
      <pc:sldChg chg="modSp mod">
        <pc:chgData name="Maria Spyridis" userId="04b33785-a609-4784-b068-1cdf6fc923dc" providerId="ADAL" clId="{982EB853-F4CC-43EB-A0AC-741912F815A7}" dt="2024-10-01T14:20:09.740" v="163" actId="20577"/>
        <pc:sldMkLst>
          <pc:docMk/>
          <pc:sldMk cId="1944682126" sldId="2864"/>
        </pc:sldMkLst>
        <pc:spChg chg="mod">
          <ac:chgData name="Maria Spyridis" userId="04b33785-a609-4784-b068-1cdf6fc923dc" providerId="ADAL" clId="{982EB853-F4CC-43EB-A0AC-741912F815A7}" dt="2024-10-01T14:20:09.740" v="163" actId="20577"/>
          <ac:spMkLst>
            <pc:docMk/>
            <pc:sldMk cId="1944682126" sldId="2864"/>
            <ac:spMk id="2" creationId="{D735F7F3-C1B5-4B60-A00A-4EB618DDFB5A}"/>
          </ac:spMkLst>
        </pc:spChg>
      </pc:sldChg>
      <pc:sldChg chg="del">
        <pc:chgData name="Maria Spyridis" userId="04b33785-a609-4784-b068-1cdf6fc923dc" providerId="ADAL" clId="{982EB853-F4CC-43EB-A0AC-741912F815A7}" dt="2024-10-01T06:03:26.377" v="1" actId="47"/>
        <pc:sldMkLst>
          <pc:docMk/>
          <pc:sldMk cId="422551760" sldId="3028"/>
        </pc:sldMkLst>
      </pc:sldChg>
      <pc:sldChg chg="del">
        <pc:chgData name="Maria Spyridis" userId="04b33785-a609-4784-b068-1cdf6fc923dc" providerId="ADAL" clId="{982EB853-F4CC-43EB-A0AC-741912F815A7}" dt="2024-10-01T06:03:34.112" v="5" actId="47"/>
        <pc:sldMkLst>
          <pc:docMk/>
          <pc:sldMk cId="3486236820" sldId="3029"/>
        </pc:sldMkLst>
      </pc:sldChg>
      <pc:sldChg chg="del">
        <pc:chgData name="Maria Spyridis" userId="04b33785-a609-4784-b068-1cdf6fc923dc" providerId="ADAL" clId="{982EB853-F4CC-43EB-A0AC-741912F815A7}" dt="2024-10-01T06:03:38.147" v="6" actId="47"/>
        <pc:sldMkLst>
          <pc:docMk/>
          <pc:sldMk cId="2075621277" sldId="3030"/>
        </pc:sldMkLst>
      </pc:sldChg>
      <pc:sldChg chg="del">
        <pc:chgData name="Maria Spyridis" userId="04b33785-a609-4784-b068-1cdf6fc923dc" providerId="ADAL" clId="{982EB853-F4CC-43EB-A0AC-741912F815A7}" dt="2024-10-01T06:07:30.807" v="8" actId="47"/>
        <pc:sldMkLst>
          <pc:docMk/>
          <pc:sldMk cId="3670240028" sldId="3041"/>
        </pc:sldMkLst>
      </pc:sldChg>
      <pc:sldChg chg="del">
        <pc:chgData name="Maria Spyridis" userId="04b33785-a609-4784-b068-1cdf6fc923dc" providerId="ADAL" clId="{982EB853-F4CC-43EB-A0AC-741912F815A7}" dt="2024-10-01T06:03:25.310" v="0" actId="47"/>
        <pc:sldMkLst>
          <pc:docMk/>
          <pc:sldMk cId="559417708" sldId="3042"/>
        </pc:sldMkLst>
      </pc:sldChg>
      <pc:sldChg chg="del">
        <pc:chgData name="Maria Spyridis" userId="04b33785-a609-4784-b068-1cdf6fc923dc" providerId="ADAL" clId="{982EB853-F4CC-43EB-A0AC-741912F815A7}" dt="2024-10-01T06:03:42.910" v="7" actId="47"/>
        <pc:sldMkLst>
          <pc:docMk/>
          <pc:sldMk cId="1170536632" sldId="3043"/>
        </pc:sldMkLst>
      </pc:sldChg>
      <pc:sldChg chg="del">
        <pc:chgData name="Maria Spyridis" userId="04b33785-a609-4784-b068-1cdf6fc923dc" providerId="ADAL" clId="{982EB853-F4CC-43EB-A0AC-741912F815A7}" dt="2024-10-01T06:03:28.351" v="3" actId="47"/>
        <pc:sldMkLst>
          <pc:docMk/>
          <pc:sldMk cId="3452830303" sldId="3044"/>
        </pc:sldMkLst>
      </pc:sldChg>
      <pc:sldChg chg="del">
        <pc:chgData name="Maria Spyridis" userId="04b33785-a609-4784-b068-1cdf6fc923dc" providerId="ADAL" clId="{982EB853-F4CC-43EB-A0AC-741912F815A7}" dt="2024-10-01T06:14:38.192" v="10" actId="2696"/>
        <pc:sldMkLst>
          <pc:docMk/>
          <pc:sldMk cId="3213372998" sldId="3046"/>
        </pc:sldMkLst>
      </pc:sldChg>
      <pc:sldChg chg="delSp modSp mod">
        <pc:chgData name="Maria Spyridis" userId="04b33785-a609-4784-b068-1cdf6fc923dc" providerId="ADAL" clId="{982EB853-F4CC-43EB-A0AC-741912F815A7}" dt="2024-10-01T14:18:06.156" v="138"/>
        <pc:sldMkLst>
          <pc:docMk/>
          <pc:sldMk cId="4289143598" sldId="3046"/>
        </pc:sldMkLst>
        <pc:spChg chg="del mod">
          <ac:chgData name="Maria Spyridis" userId="04b33785-a609-4784-b068-1cdf6fc923dc" providerId="ADAL" clId="{982EB853-F4CC-43EB-A0AC-741912F815A7}" dt="2024-10-01T14:18:06.156" v="138"/>
          <ac:spMkLst>
            <pc:docMk/>
            <pc:sldMk cId="4289143598" sldId="3046"/>
            <ac:spMk id="16" creationId="{ADD594B9-8F83-1CAC-DC39-B616216D4C45}"/>
          </ac:spMkLst>
        </pc:spChg>
      </pc:sldChg>
      <pc:sldChg chg="delSp mod">
        <pc:chgData name="Maria Spyridis" userId="04b33785-a609-4784-b068-1cdf6fc923dc" providerId="ADAL" clId="{982EB853-F4CC-43EB-A0AC-741912F815A7}" dt="2024-10-01T06:13:54.661" v="9" actId="478"/>
        <pc:sldMkLst>
          <pc:docMk/>
          <pc:sldMk cId="2050271905" sldId="3049"/>
        </pc:sldMkLst>
        <pc:spChg chg="del">
          <ac:chgData name="Maria Spyridis" userId="04b33785-a609-4784-b068-1cdf6fc923dc" providerId="ADAL" clId="{982EB853-F4CC-43EB-A0AC-741912F815A7}" dt="2024-10-01T06:13:54.661" v="9" actId="478"/>
          <ac:spMkLst>
            <pc:docMk/>
            <pc:sldMk cId="2050271905" sldId="3049"/>
            <ac:spMk id="22" creationId="{0778DEE6-F78C-8327-42F4-8CD3A537F9C9}"/>
          </ac:spMkLst>
        </pc:spChg>
      </pc:sldChg>
      <pc:sldChg chg="addSp modSp new mod">
        <pc:chgData name="Maria Spyridis" userId="04b33785-a609-4784-b068-1cdf6fc923dc" providerId="ADAL" clId="{982EB853-F4CC-43EB-A0AC-741912F815A7}" dt="2024-10-01T14:28:48.817" v="194" actId="14100"/>
        <pc:sldMkLst>
          <pc:docMk/>
          <pc:sldMk cId="4263918407" sldId="3051"/>
        </pc:sldMkLst>
        <pc:spChg chg="add mod">
          <ac:chgData name="Maria Spyridis" userId="04b33785-a609-4784-b068-1cdf6fc923dc" providerId="ADAL" clId="{982EB853-F4CC-43EB-A0AC-741912F815A7}" dt="2024-10-01T14:28:04.039" v="193" actId="20577"/>
          <ac:spMkLst>
            <pc:docMk/>
            <pc:sldMk cId="4263918407" sldId="3051"/>
            <ac:spMk id="4" creationId="{CF191F43-430E-B458-970D-A0DC70DCB4A1}"/>
          </ac:spMkLst>
        </pc:spChg>
        <pc:picChg chg="add mod">
          <ac:chgData name="Maria Spyridis" userId="04b33785-a609-4784-b068-1cdf6fc923dc" providerId="ADAL" clId="{982EB853-F4CC-43EB-A0AC-741912F815A7}" dt="2024-10-01T14:28:48.817" v="194" actId="14100"/>
          <ac:picMkLst>
            <pc:docMk/>
            <pc:sldMk cId="4263918407" sldId="3051"/>
            <ac:picMk id="3" creationId="{57309555-D450-F6E2-D546-0C5E4B3599A1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927737-8106-8E40-8017-AC0E4B2C918E}" type="datetimeFigureOut">
              <a:rPr lang="en-US" smtClean="0"/>
              <a:t>10/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792525-530D-0946-AA22-206367D5B5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5632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792525-530D-0946-AA22-206367D5B5F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151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392BBEF-C3DE-4FE8-9E26-905D68AA097A}" type="slidenum">
              <a:rPr lang="en-US" altLang="en-US" smtClean="0"/>
              <a:pPr>
                <a:defRPr/>
              </a:pPr>
              <a:t>3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106279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561AA529-2013-5EA8-3672-31A6E7B1881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65E3C315-CB04-8187-BD2B-578FC4E4C3F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 dirty="0"/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70544073-D5DA-E8F3-9AFC-8C3EA4C54B7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15963" indent="-27463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01725" indent="-2190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43050" indent="-2190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84375" indent="-2190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441575" indent="-2190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98775" indent="-2190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55975" indent="-2190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13175" indent="-2190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DCBB7B9-FCBB-4118-8803-ECEF746CA735}" type="slidenum">
              <a:rPr lang="en-US" altLang="en-US" smtClean="0"/>
              <a:pPr/>
              <a:t>3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>
            <a:extLst>
              <a:ext uri="{FF2B5EF4-FFF2-40B4-BE49-F238E27FC236}">
                <a16:creationId xmlns:a16="http://schemas.microsoft.com/office/drawing/2014/main" id="{041B4C73-DE15-2CE7-0585-4C057C0DAE1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Notes Placeholder 2">
            <a:extLst>
              <a:ext uri="{FF2B5EF4-FFF2-40B4-BE49-F238E27FC236}">
                <a16:creationId xmlns:a16="http://schemas.microsoft.com/office/drawing/2014/main" id="{56913770-83C8-2046-8921-D846063CB51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ZA" altLang="en-US" dirty="0"/>
              <a:t>This template was inserted from Power-user, the productivity add-in for PowerPoint, Excel and Word.</a:t>
            </a:r>
          </a:p>
          <a:p>
            <a:r>
              <a:rPr lang="en-ZA" altLang="en-US" dirty="0"/>
              <a:t>Get thousands of templates, icons, maps, diagrams and charts with Power-user. Visit https://www.powerusersoftwares.com/!</a:t>
            </a:r>
          </a:p>
        </p:txBody>
      </p:sp>
      <p:sp>
        <p:nvSpPr>
          <p:cNvPr id="19460" name="Slide Number Placeholder 3">
            <a:extLst>
              <a:ext uri="{FF2B5EF4-FFF2-40B4-BE49-F238E27FC236}">
                <a16:creationId xmlns:a16="http://schemas.microsoft.com/office/drawing/2014/main" id="{F4E33CC8-2456-6DE3-7DD5-CED2E1CB976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15963" indent="-27463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01725" indent="-2190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43050" indent="-2190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84375" indent="-2190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441575" indent="-2190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98775" indent="-2190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55975" indent="-2190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13175" indent="-2190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57E66A4D-E775-4405-B17C-FC30A14A8CEB}" type="slidenum">
              <a:rPr lang="en-ZA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 eaLnBrk="1" hangingPunct="1"/>
              <a:t>4</a:t>
            </a:fld>
            <a:endParaRPr lang="en-ZA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792525-530D-0946-AA22-206367D5B5F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8906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This template was inserted from Power-user, the productivity add-in for PowerPoint, Excel and Word.</a:t>
            </a:r>
          </a:p>
          <a:p>
            <a:r>
              <a:rPr lang="en-GB"/>
              <a:t>Install Power-user to access thousands of templates, icons, maps, diagrams and charts with Power-user.</a:t>
            </a:r>
          </a:p>
          <a:p>
            <a:r>
              <a:rPr lang="en-GB"/>
              <a:t>Visit </a:t>
            </a:r>
            <a:r>
              <a:rPr lang="en-GB">
                <a:hlinkClick r:id="rId3"/>
              </a:rPr>
              <a:t>https://www.powerusersoftwares.com/</a:t>
            </a:r>
            <a:endParaRPr lang="en-GB"/>
          </a:p>
          <a:p>
            <a:r>
              <a:rPr lang="en-GB"/>
              <a:t>©Power-user SAS, terms of license: </a:t>
            </a:r>
            <a:r>
              <a:rPr lang="en-GB">
                <a:hlinkClick r:id="rId4"/>
              </a:rPr>
              <a:t>https://www.powerusersoftwares.com/term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ZA" smtClean="0"/>
              <a:t>1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775399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>
            <a:extLst>
              <a:ext uri="{FF2B5EF4-FFF2-40B4-BE49-F238E27FC236}">
                <a16:creationId xmlns:a16="http://schemas.microsoft.com/office/drawing/2014/main" id="{B13F60A8-4666-5DFA-349B-A2350331928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Notes Placeholder 2">
            <a:extLst>
              <a:ext uri="{FF2B5EF4-FFF2-40B4-BE49-F238E27FC236}">
                <a16:creationId xmlns:a16="http://schemas.microsoft.com/office/drawing/2014/main" id="{5332B8FD-C832-C323-7AE8-5DD3A404961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ZA" altLang="en-US"/>
              <a:t>Discuss what it was versus the new system</a:t>
            </a:r>
          </a:p>
        </p:txBody>
      </p:sp>
      <p:sp>
        <p:nvSpPr>
          <p:cNvPr id="18436" name="Slide Number Placeholder 3">
            <a:extLst>
              <a:ext uri="{FF2B5EF4-FFF2-40B4-BE49-F238E27FC236}">
                <a16:creationId xmlns:a16="http://schemas.microsoft.com/office/drawing/2014/main" id="{4FD487F0-F903-D479-ADE9-663BFD498DC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75C8C00-AF72-47EB-8B0B-8D4B49FD8A08}" type="slidenum">
              <a:rPr lang="en-US" altLang="en-US" smtClean="0"/>
              <a:pPr/>
              <a:t>19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>
            <a:extLst>
              <a:ext uri="{FF2B5EF4-FFF2-40B4-BE49-F238E27FC236}">
                <a16:creationId xmlns:a16="http://schemas.microsoft.com/office/drawing/2014/main" id="{0A4291DE-389B-F579-6B8D-4EBAB62E3E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>
            <a:extLst>
              <a:ext uri="{FF2B5EF4-FFF2-40B4-BE49-F238E27FC236}">
                <a16:creationId xmlns:a16="http://schemas.microsoft.com/office/drawing/2014/main" id="{8C1D2000-F7AD-0975-789E-903F6C11FCA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ZA" altLang="en-US"/>
              <a:t>This template was inserted from Power-user, the productivity add-in for PowerPoint, Excel and Word.</a:t>
            </a:r>
          </a:p>
          <a:p>
            <a:r>
              <a:rPr lang="en-ZA" altLang="en-US"/>
              <a:t>Install Power-user to access thousands of templates, icons, maps, diagrams and charts with Power-user.</a:t>
            </a:r>
          </a:p>
          <a:p>
            <a:r>
              <a:rPr lang="en-ZA" altLang="en-US"/>
              <a:t>Visit </a:t>
            </a:r>
            <a:r>
              <a:rPr lang="en-ZA" altLang="en-US">
                <a:hlinkClick r:id="rId3"/>
              </a:rPr>
              <a:t>https://www.powerusersoftwares.com/</a:t>
            </a:r>
            <a:endParaRPr lang="en-ZA" altLang="en-US"/>
          </a:p>
          <a:p>
            <a:r>
              <a:rPr lang="en-ZA" altLang="en-US"/>
              <a:t>©Power-user SAS, terms of license: </a:t>
            </a:r>
            <a:r>
              <a:rPr lang="en-ZA" altLang="en-US">
                <a:hlinkClick r:id="rId4"/>
              </a:rPr>
              <a:t>https://www.powerusersoftwares.com/terms</a:t>
            </a:r>
            <a:endParaRPr lang="en-ZA" altLang="en-US"/>
          </a:p>
        </p:txBody>
      </p:sp>
      <p:sp>
        <p:nvSpPr>
          <p:cNvPr id="39940" name="Slide Number Placeholder 3">
            <a:extLst>
              <a:ext uri="{FF2B5EF4-FFF2-40B4-BE49-F238E27FC236}">
                <a16:creationId xmlns:a16="http://schemas.microsoft.com/office/drawing/2014/main" id="{CDB4E6AE-612D-A49F-82B0-A3885AEC566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D742A4AD-20F2-4CD6-B470-35DDE43B09ED}" type="slidenum">
              <a:rPr lang="en-ZA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 eaLnBrk="1" hangingPunct="1"/>
              <a:t>23</a:t>
            </a:fld>
            <a:endParaRPr lang="en-ZA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This template was inserted from Power-user, the productivity add-in for PowerPoint, Excel and Word.</a:t>
            </a:r>
          </a:p>
          <a:p>
            <a:r>
              <a:rPr lang="en-GB"/>
              <a:t>Install Power-user to access thousands of templates, icons, maps, diagrams and charts with Power-user.</a:t>
            </a:r>
          </a:p>
          <a:p>
            <a:r>
              <a:rPr lang="en-GB"/>
              <a:t>Visit </a:t>
            </a:r>
            <a:r>
              <a:rPr lang="en-GB">
                <a:hlinkClick r:id="rId3"/>
              </a:rPr>
              <a:t>https://www.powerusersoftwares.com/</a:t>
            </a:r>
            <a:endParaRPr lang="en-GB"/>
          </a:p>
          <a:p>
            <a:r>
              <a:rPr lang="en-GB"/>
              <a:t>©Power-user SAS, terms of license: </a:t>
            </a:r>
            <a:r>
              <a:rPr lang="en-GB">
                <a:hlinkClick r:id="rId4"/>
              </a:rPr>
              <a:t>https://www.powerusersoftwares.com/terms</a:t>
            </a:r>
            <a:endParaRPr lang="en-Z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ZA" smtClean="0"/>
              <a:t>2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687340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792525-530D-0946-AA22-206367D5B5F0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193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7060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09199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">
            <a:extLst>
              <a:ext uri="{FF2B5EF4-FFF2-40B4-BE49-F238E27FC236}">
                <a16:creationId xmlns:a16="http://schemas.microsoft.com/office/drawing/2014/main" id="{7EDA169F-B21D-4AE9-B629-2648BD13189B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5030788"/>
            <a:ext cx="11784013" cy="1581150"/>
            <a:chOff x="0" y="5030641"/>
            <a:chExt cx="11784650" cy="1581249"/>
          </a:xfrm>
        </p:grpSpPr>
        <p:grpSp>
          <p:nvGrpSpPr>
            <p:cNvPr id="4" name="Group 2">
              <a:extLst>
                <a:ext uri="{FF2B5EF4-FFF2-40B4-BE49-F238E27FC236}">
                  <a16:creationId xmlns:a16="http://schemas.microsoft.com/office/drawing/2014/main" id="{3A27900A-CFF0-72CD-9C5C-F51C71E67B8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972494" y="5030641"/>
              <a:ext cx="812156" cy="1343445"/>
              <a:chOff x="10042059" y="85076"/>
              <a:chExt cx="1867634" cy="3089387"/>
            </a:xfrm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C077922E-0D6B-705B-1711-7A83AAF830A7}"/>
                  </a:ext>
                </a:extLst>
              </p:cNvPr>
              <p:cNvSpPr/>
              <p:nvPr/>
            </p:nvSpPr>
            <p:spPr>
              <a:xfrm rot="16200000" flipH="1">
                <a:off x="9850625" y="274928"/>
                <a:ext cx="2248920" cy="1869216"/>
              </a:xfrm>
              <a:custGeom>
                <a:avLst/>
                <a:gdLst>
                  <a:gd name="connsiteX0" fmla="*/ 2234976 w 2254431"/>
                  <a:gd name="connsiteY0" fmla="*/ 1132618 h 1867634"/>
                  <a:gd name="connsiteX1" fmla="*/ 2236496 w 2254431"/>
                  <a:gd name="connsiteY1" fmla="*/ 1135418 h 1867634"/>
                  <a:gd name="connsiteX2" fmla="*/ 2234976 w 2254431"/>
                  <a:gd name="connsiteY2" fmla="*/ 1140552 h 1867634"/>
                  <a:gd name="connsiteX3" fmla="*/ 2234976 w 2254431"/>
                  <a:gd name="connsiteY3" fmla="*/ 710150 h 1867634"/>
                  <a:gd name="connsiteX4" fmla="*/ 2240336 w 2254431"/>
                  <a:gd name="connsiteY4" fmla="*/ 727150 h 1867634"/>
                  <a:gd name="connsiteX5" fmla="*/ 2234976 w 2254431"/>
                  <a:gd name="connsiteY5" fmla="*/ 737448 h 1867634"/>
                  <a:gd name="connsiteX6" fmla="*/ 1734909 w 2254431"/>
                  <a:gd name="connsiteY6" fmla="*/ 1232300 h 1867634"/>
                  <a:gd name="connsiteX7" fmla="*/ 1781182 w 2254431"/>
                  <a:gd name="connsiteY7" fmla="*/ 1232300 h 1867634"/>
                  <a:gd name="connsiteX8" fmla="*/ 1734909 w 2254431"/>
                  <a:gd name="connsiteY8" fmla="*/ 1237163 h 1867634"/>
                  <a:gd name="connsiteX9" fmla="*/ 1734908 w 2254431"/>
                  <a:gd name="connsiteY9" fmla="*/ 633988 h 1867634"/>
                  <a:gd name="connsiteX10" fmla="*/ 2124749 w 2254431"/>
                  <a:gd name="connsiteY10" fmla="*/ 668096 h 1867634"/>
                  <a:gd name="connsiteX11" fmla="*/ 1734908 w 2254431"/>
                  <a:gd name="connsiteY11" fmla="*/ 668096 h 1867634"/>
                  <a:gd name="connsiteX12" fmla="*/ 0 w 2254431"/>
                  <a:gd name="connsiteY12" fmla="*/ 933818 h 1867634"/>
                  <a:gd name="connsiteX13" fmla="*/ 273507 w 2254431"/>
                  <a:gd name="connsiteY13" fmla="*/ 1594126 h 1867634"/>
                  <a:gd name="connsiteX14" fmla="*/ 1594123 w 2254431"/>
                  <a:gd name="connsiteY14" fmla="*/ 1594126 h 1867634"/>
                  <a:gd name="connsiteX15" fmla="*/ 1818102 w 2254431"/>
                  <a:gd name="connsiteY15" fmla="*/ 1370146 h 1867634"/>
                  <a:gd name="connsiteX16" fmla="*/ 2067929 w 2254431"/>
                  <a:gd name="connsiteY16" fmla="*/ 1370150 h 1867634"/>
                  <a:gd name="connsiteX17" fmla="*/ 2249729 w 2254431"/>
                  <a:gd name="connsiteY17" fmla="*/ 1188348 h 1867634"/>
                  <a:gd name="connsiteX18" fmla="*/ 2249729 w 2254431"/>
                  <a:gd name="connsiteY18" fmla="*/ 938520 h 1867634"/>
                  <a:gd name="connsiteX19" fmla="*/ 2254431 w 2254431"/>
                  <a:gd name="connsiteY19" fmla="*/ 933818 h 1867634"/>
                  <a:gd name="connsiteX20" fmla="*/ 2249729 w 2254431"/>
                  <a:gd name="connsiteY20" fmla="*/ 929116 h 1867634"/>
                  <a:gd name="connsiteX21" fmla="*/ 2249729 w 2254431"/>
                  <a:gd name="connsiteY21" fmla="*/ 679292 h 1867634"/>
                  <a:gd name="connsiteX22" fmla="*/ 2067926 w 2254431"/>
                  <a:gd name="connsiteY22" fmla="*/ 497490 h 1867634"/>
                  <a:gd name="connsiteX23" fmla="*/ 1818099 w 2254431"/>
                  <a:gd name="connsiteY23" fmla="*/ 497490 h 1867634"/>
                  <a:gd name="connsiteX24" fmla="*/ 1594123 w 2254431"/>
                  <a:gd name="connsiteY24" fmla="*/ 273510 h 1867634"/>
                  <a:gd name="connsiteX25" fmla="*/ 273507 w 2254431"/>
                  <a:gd name="connsiteY25" fmla="*/ 273510 h 1867634"/>
                  <a:gd name="connsiteX26" fmla="*/ 0 w 2254431"/>
                  <a:gd name="connsiteY26" fmla="*/ 933818 h 1867634"/>
                  <a:gd name="connsiteX0" fmla="*/ 2234976 w 2254431"/>
                  <a:gd name="connsiteY0" fmla="*/ 1132618 h 1867634"/>
                  <a:gd name="connsiteX1" fmla="*/ 2236496 w 2254431"/>
                  <a:gd name="connsiteY1" fmla="*/ 1135418 h 1867634"/>
                  <a:gd name="connsiteX2" fmla="*/ 2234976 w 2254431"/>
                  <a:gd name="connsiteY2" fmla="*/ 1140552 h 1867634"/>
                  <a:gd name="connsiteX3" fmla="*/ 2234976 w 2254431"/>
                  <a:gd name="connsiteY3" fmla="*/ 1132618 h 1867634"/>
                  <a:gd name="connsiteX4" fmla="*/ 2234976 w 2254431"/>
                  <a:gd name="connsiteY4" fmla="*/ 710150 h 1867634"/>
                  <a:gd name="connsiteX5" fmla="*/ 2240336 w 2254431"/>
                  <a:gd name="connsiteY5" fmla="*/ 727150 h 1867634"/>
                  <a:gd name="connsiteX6" fmla="*/ 2234976 w 2254431"/>
                  <a:gd name="connsiteY6" fmla="*/ 737448 h 1867634"/>
                  <a:gd name="connsiteX7" fmla="*/ 2234976 w 2254431"/>
                  <a:gd name="connsiteY7" fmla="*/ 710150 h 1867634"/>
                  <a:gd name="connsiteX8" fmla="*/ 1734909 w 2254431"/>
                  <a:gd name="connsiteY8" fmla="*/ 1232300 h 1867634"/>
                  <a:gd name="connsiteX9" fmla="*/ 1781182 w 2254431"/>
                  <a:gd name="connsiteY9" fmla="*/ 1232300 h 1867634"/>
                  <a:gd name="connsiteX10" fmla="*/ 1734909 w 2254431"/>
                  <a:gd name="connsiteY10" fmla="*/ 1237163 h 1867634"/>
                  <a:gd name="connsiteX11" fmla="*/ 1734909 w 2254431"/>
                  <a:gd name="connsiteY11" fmla="*/ 1232300 h 1867634"/>
                  <a:gd name="connsiteX12" fmla="*/ 1734908 w 2254431"/>
                  <a:gd name="connsiteY12" fmla="*/ 668096 h 1867634"/>
                  <a:gd name="connsiteX13" fmla="*/ 2124749 w 2254431"/>
                  <a:gd name="connsiteY13" fmla="*/ 668096 h 1867634"/>
                  <a:gd name="connsiteX14" fmla="*/ 1734908 w 2254431"/>
                  <a:gd name="connsiteY14" fmla="*/ 668096 h 1867634"/>
                  <a:gd name="connsiteX15" fmla="*/ 0 w 2254431"/>
                  <a:gd name="connsiteY15" fmla="*/ 933818 h 1867634"/>
                  <a:gd name="connsiteX16" fmla="*/ 273507 w 2254431"/>
                  <a:gd name="connsiteY16" fmla="*/ 1594126 h 1867634"/>
                  <a:gd name="connsiteX17" fmla="*/ 1594123 w 2254431"/>
                  <a:gd name="connsiteY17" fmla="*/ 1594126 h 1867634"/>
                  <a:gd name="connsiteX18" fmla="*/ 1818102 w 2254431"/>
                  <a:gd name="connsiteY18" fmla="*/ 1370146 h 1867634"/>
                  <a:gd name="connsiteX19" fmla="*/ 2067929 w 2254431"/>
                  <a:gd name="connsiteY19" fmla="*/ 1370150 h 1867634"/>
                  <a:gd name="connsiteX20" fmla="*/ 2249729 w 2254431"/>
                  <a:gd name="connsiteY20" fmla="*/ 1188348 h 1867634"/>
                  <a:gd name="connsiteX21" fmla="*/ 2249729 w 2254431"/>
                  <a:gd name="connsiteY21" fmla="*/ 938520 h 1867634"/>
                  <a:gd name="connsiteX22" fmla="*/ 2254431 w 2254431"/>
                  <a:gd name="connsiteY22" fmla="*/ 933818 h 1867634"/>
                  <a:gd name="connsiteX23" fmla="*/ 2249729 w 2254431"/>
                  <a:gd name="connsiteY23" fmla="*/ 929116 h 1867634"/>
                  <a:gd name="connsiteX24" fmla="*/ 2249729 w 2254431"/>
                  <a:gd name="connsiteY24" fmla="*/ 679292 h 1867634"/>
                  <a:gd name="connsiteX25" fmla="*/ 2067926 w 2254431"/>
                  <a:gd name="connsiteY25" fmla="*/ 497490 h 1867634"/>
                  <a:gd name="connsiteX26" fmla="*/ 1818099 w 2254431"/>
                  <a:gd name="connsiteY26" fmla="*/ 497490 h 1867634"/>
                  <a:gd name="connsiteX27" fmla="*/ 1594123 w 2254431"/>
                  <a:gd name="connsiteY27" fmla="*/ 273510 h 1867634"/>
                  <a:gd name="connsiteX28" fmla="*/ 273507 w 2254431"/>
                  <a:gd name="connsiteY28" fmla="*/ 273510 h 1867634"/>
                  <a:gd name="connsiteX29" fmla="*/ 0 w 2254431"/>
                  <a:gd name="connsiteY29" fmla="*/ 933818 h 1867634"/>
                  <a:gd name="connsiteX0" fmla="*/ 2234976 w 2254431"/>
                  <a:gd name="connsiteY0" fmla="*/ 1132618 h 1867634"/>
                  <a:gd name="connsiteX1" fmla="*/ 2236496 w 2254431"/>
                  <a:gd name="connsiteY1" fmla="*/ 1135418 h 1867634"/>
                  <a:gd name="connsiteX2" fmla="*/ 2234976 w 2254431"/>
                  <a:gd name="connsiteY2" fmla="*/ 1140552 h 1867634"/>
                  <a:gd name="connsiteX3" fmla="*/ 2234976 w 2254431"/>
                  <a:gd name="connsiteY3" fmla="*/ 1132618 h 1867634"/>
                  <a:gd name="connsiteX4" fmla="*/ 2234976 w 2254431"/>
                  <a:gd name="connsiteY4" fmla="*/ 710150 h 1867634"/>
                  <a:gd name="connsiteX5" fmla="*/ 2240336 w 2254431"/>
                  <a:gd name="connsiteY5" fmla="*/ 727150 h 1867634"/>
                  <a:gd name="connsiteX6" fmla="*/ 2234976 w 2254431"/>
                  <a:gd name="connsiteY6" fmla="*/ 737448 h 1867634"/>
                  <a:gd name="connsiteX7" fmla="*/ 2234976 w 2254431"/>
                  <a:gd name="connsiteY7" fmla="*/ 710150 h 1867634"/>
                  <a:gd name="connsiteX8" fmla="*/ 1734909 w 2254431"/>
                  <a:gd name="connsiteY8" fmla="*/ 1232300 h 1867634"/>
                  <a:gd name="connsiteX9" fmla="*/ 1781182 w 2254431"/>
                  <a:gd name="connsiteY9" fmla="*/ 1232300 h 1867634"/>
                  <a:gd name="connsiteX10" fmla="*/ 1734909 w 2254431"/>
                  <a:gd name="connsiteY10" fmla="*/ 1237163 h 1867634"/>
                  <a:gd name="connsiteX11" fmla="*/ 1734909 w 2254431"/>
                  <a:gd name="connsiteY11" fmla="*/ 1232300 h 1867634"/>
                  <a:gd name="connsiteX12" fmla="*/ 0 w 2254431"/>
                  <a:gd name="connsiteY12" fmla="*/ 933818 h 1867634"/>
                  <a:gd name="connsiteX13" fmla="*/ 273507 w 2254431"/>
                  <a:gd name="connsiteY13" fmla="*/ 1594126 h 1867634"/>
                  <a:gd name="connsiteX14" fmla="*/ 1594123 w 2254431"/>
                  <a:gd name="connsiteY14" fmla="*/ 1594126 h 1867634"/>
                  <a:gd name="connsiteX15" fmla="*/ 1818102 w 2254431"/>
                  <a:gd name="connsiteY15" fmla="*/ 1370146 h 1867634"/>
                  <a:gd name="connsiteX16" fmla="*/ 2067929 w 2254431"/>
                  <a:gd name="connsiteY16" fmla="*/ 1370150 h 1867634"/>
                  <a:gd name="connsiteX17" fmla="*/ 2249729 w 2254431"/>
                  <a:gd name="connsiteY17" fmla="*/ 1188348 h 1867634"/>
                  <a:gd name="connsiteX18" fmla="*/ 2249729 w 2254431"/>
                  <a:gd name="connsiteY18" fmla="*/ 938520 h 1867634"/>
                  <a:gd name="connsiteX19" fmla="*/ 2254431 w 2254431"/>
                  <a:gd name="connsiteY19" fmla="*/ 933818 h 1867634"/>
                  <a:gd name="connsiteX20" fmla="*/ 2249729 w 2254431"/>
                  <a:gd name="connsiteY20" fmla="*/ 929116 h 1867634"/>
                  <a:gd name="connsiteX21" fmla="*/ 2249729 w 2254431"/>
                  <a:gd name="connsiteY21" fmla="*/ 679292 h 1867634"/>
                  <a:gd name="connsiteX22" fmla="*/ 2067926 w 2254431"/>
                  <a:gd name="connsiteY22" fmla="*/ 497490 h 1867634"/>
                  <a:gd name="connsiteX23" fmla="*/ 1818099 w 2254431"/>
                  <a:gd name="connsiteY23" fmla="*/ 497490 h 1867634"/>
                  <a:gd name="connsiteX24" fmla="*/ 1594123 w 2254431"/>
                  <a:gd name="connsiteY24" fmla="*/ 273510 h 1867634"/>
                  <a:gd name="connsiteX25" fmla="*/ 273507 w 2254431"/>
                  <a:gd name="connsiteY25" fmla="*/ 273510 h 1867634"/>
                  <a:gd name="connsiteX26" fmla="*/ 0 w 2254431"/>
                  <a:gd name="connsiteY26" fmla="*/ 933818 h 1867634"/>
                  <a:gd name="connsiteX0" fmla="*/ 2234976 w 2254431"/>
                  <a:gd name="connsiteY0" fmla="*/ 1132618 h 1867634"/>
                  <a:gd name="connsiteX1" fmla="*/ 2236496 w 2254431"/>
                  <a:gd name="connsiteY1" fmla="*/ 1135418 h 1867634"/>
                  <a:gd name="connsiteX2" fmla="*/ 2234976 w 2254431"/>
                  <a:gd name="connsiteY2" fmla="*/ 1140552 h 1867634"/>
                  <a:gd name="connsiteX3" fmla="*/ 2234976 w 2254431"/>
                  <a:gd name="connsiteY3" fmla="*/ 1132618 h 1867634"/>
                  <a:gd name="connsiteX4" fmla="*/ 2234976 w 2254431"/>
                  <a:gd name="connsiteY4" fmla="*/ 710150 h 1867634"/>
                  <a:gd name="connsiteX5" fmla="*/ 2240336 w 2254431"/>
                  <a:gd name="connsiteY5" fmla="*/ 727150 h 1867634"/>
                  <a:gd name="connsiteX6" fmla="*/ 2234976 w 2254431"/>
                  <a:gd name="connsiteY6" fmla="*/ 737448 h 1867634"/>
                  <a:gd name="connsiteX7" fmla="*/ 2234976 w 2254431"/>
                  <a:gd name="connsiteY7" fmla="*/ 710150 h 1867634"/>
                  <a:gd name="connsiteX8" fmla="*/ 1734909 w 2254431"/>
                  <a:gd name="connsiteY8" fmla="*/ 1237163 h 1867634"/>
                  <a:gd name="connsiteX9" fmla="*/ 1781182 w 2254431"/>
                  <a:gd name="connsiteY9" fmla="*/ 1232300 h 1867634"/>
                  <a:gd name="connsiteX10" fmla="*/ 1734909 w 2254431"/>
                  <a:gd name="connsiteY10" fmla="*/ 1237163 h 1867634"/>
                  <a:gd name="connsiteX11" fmla="*/ 0 w 2254431"/>
                  <a:gd name="connsiteY11" fmla="*/ 933818 h 1867634"/>
                  <a:gd name="connsiteX12" fmla="*/ 273507 w 2254431"/>
                  <a:gd name="connsiteY12" fmla="*/ 1594126 h 1867634"/>
                  <a:gd name="connsiteX13" fmla="*/ 1594123 w 2254431"/>
                  <a:gd name="connsiteY13" fmla="*/ 1594126 h 1867634"/>
                  <a:gd name="connsiteX14" fmla="*/ 1818102 w 2254431"/>
                  <a:gd name="connsiteY14" fmla="*/ 1370146 h 1867634"/>
                  <a:gd name="connsiteX15" fmla="*/ 2067929 w 2254431"/>
                  <a:gd name="connsiteY15" fmla="*/ 1370150 h 1867634"/>
                  <a:gd name="connsiteX16" fmla="*/ 2249729 w 2254431"/>
                  <a:gd name="connsiteY16" fmla="*/ 1188348 h 1867634"/>
                  <a:gd name="connsiteX17" fmla="*/ 2249729 w 2254431"/>
                  <a:gd name="connsiteY17" fmla="*/ 938520 h 1867634"/>
                  <a:gd name="connsiteX18" fmla="*/ 2254431 w 2254431"/>
                  <a:gd name="connsiteY18" fmla="*/ 933818 h 1867634"/>
                  <a:gd name="connsiteX19" fmla="*/ 2249729 w 2254431"/>
                  <a:gd name="connsiteY19" fmla="*/ 929116 h 1867634"/>
                  <a:gd name="connsiteX20" fmla="*/ 2249729 w 2254431"/>
                  <a:gd name="connsiteY20" fmla="*/ 679292 h 1867634"/>
                  <a:gd name="connsiteX21" fmla="*/ 2067926 w 2254431"/>
                  <a:gd name="connsiteY21" fmla="*/ 497490 h 1867634"/>
                  <a:gd name="connsiteX22" fmla="*/ 1818099 w 2254431"/>
                  <a:gd name="connsiteY22" fmla="*/ 497490 h 1867634"/>
                  <a:gd name="connsiteX23" fmla="*/ 1594123 w 2254431"/>
                  <a:gd name="connsiteY23" fmla="*/ 273510 h 1867634"/>
                  <a:gd name="connsiteX24" fmla="*/ 273507 w 2254431"/>
                  <a:gd name="connsiteY24" fmla="*/ 273510 h 1867634"/>
                  <a:gd name="connsiteX25" fmla="*/ 0 w 2254431"/>
                  <a:gd name="connsiteY25" fmla="*/ 933818 h 1867634"/>
                  <a:gd name="connsiteX0" fmla="*/ 2234976 w 2254431"/>
                  <a:gd name="connsiteY0" fmla="*/ 1132618 h 1867634"/>
                  <a:gd name="connsiteX1" fmla="*/ 2236496 w 2254431"/>
                  <a:gd name="connsiteY1" fmla="*/ 1135418 h 1867634"/>
                  <a:gd name="connsiteX2" fmla="*/ 2234976 w 2254431"/>
                  <a:gd name="connsiteY2" fmla="*/ 1140552 h 1867634"/>
                  <a:gd name="connsiteX3" fmla="*/ 2234976 w 2254431"/>
                  <a:gd name="connsiteY3" fmla="*/ 1132618 h 1867634"/>
                  <a:gd name="connsiteX4" fmla="*/ 2234976 w 2254431"/>
                  <a:gd name="connsiteY4" fmla="*/ 710150 h 1867634"/>
                  <a:gd name="connsiteX5" fmla="*/ 2240336 w 2254431"/>
                  <a:gd name="connsiteY5" fmla="*/ 727150 h 1867634"/>
                  <a:gd name="connsiteX6" fmla="*/ 2234976 w 2254431"/>
                  <a:gd name="connsiteY6" fmla="*/ 737448 h 1867634"/>
                  <a:gd name="connsiteX7" fmla="*/ 2234976 w 2254431"/>
                  <a:gd name="connsiteY7" fmla="*/ 710150 h 1867634"/>
                  <a:gd name="connsiteX8" fmla="*/ 0 w 2254431"/>
                  <a:gd name="connsiteY8" fmla="*/ 933818 h 1867634"/>
                  <a:gd name="connsiteX9" fmla="*/ 273507 w 2254431"/>
                  <a:gd name="connsiteY9" fmla="*/ 1594126 h 1867634"/>
                  <a:gd name="connsiteX10" fmla="*/ 1594123 w 2254431"/>
                  <a:gd name="connsiteY10" fmla="*/ 1594126 h 1867634"/>
                  <a:gd name="connsiteX11" fmla="*/ 1818102 w 2254431"/>
                  <a:gd name="connsiteY11" fmla="*/ 1370146 h 1867634"/>
                  <a:gd name="connsiteX12" fmla="*/ 2067929 w 2254431"/>
                  <a:gd name="connsiteY12" fmla="*/ 1370150 h 1867634"/>
                  <a:gd name="connsiteX13" fmla="*/ 2249729 w 2254431"/>
                  <a:gd name="connsiteY13" fmla="*/ 1188348 h 1867634"/>
                  <a:gd name="connsiteX14" fmla="*/ 2249729 w 2254431"/>
                  <a:gd name="connsiteY14" fmla="*/ 938520 h 1867634"/>
                  <a:gd name="connsiteX15" fmla="*/ 2254431 w 2254431"/>
                  <a:gd name="connsiteY15" fmla="*/ 933818 h 1867634"/>
                  <a:gd name="connsiteX16" fmla="*/ 2249729 w 2254431"/>
                  <a:gd name="connsiteY16" fmla="*/ 929116 h 1867634"/>
                  <a:gd name="connsiteX17" fmla="*/ 2249729 w 2254431"/>
                  <a:gd name="connsiteY17" fmla="*/ 679292 h 1867634"/>
                  <a:gd name="connsiteX18" fmla="*/ 2067926 w 2254431"/>
                  <a:gd name="connsiteY18" fmla="*/ 497490 h 1867634"/>
                  <a:gd name="connsiteX19" fmla="*/ 1818099 w 2254431"/>
                  <a:gd name="connsiteY19" fmla="*/ 497490 h 1867634"/>
                  <a:gd name="connsiteX20" fmla="*/ 1594123 w 2254431"/>
                  <a:gd name="connsiteY20" fmla="*/ 273510 h 1867634"/>
                  <a:gd name="connsiteX21" fmla="*/ 273507 w 2254431"/>
                  <a:gd name="connsiteY21" fmla="*/ 273510 h 1867634"/>
                  <a:gd name="connsiteX22" fmla="*/ 0 w 2254431"/>
                  <a:gd name="connsiteY22" fmla="*/ 933818 h 1867634"/>
                  <a:gd name="connsiteX0" fmla="*/ 2234976 w 2254431"/>
                  <a:gd name="connsiteY0" fmla="*/ 1140552 h 1867634"/>
                  <a:gd name="connsiteX1" fmla="*/ 2236496 w 2254431"/>
                  <a:gd name="connsiteY1" fmla="*/ 1135418 h 1867634"/>
                  <a:gd name="connsiteX2" fmla="*/ 2234976 w 2254431"/>
                  <a:gd name="connsiteY2" fmla="*/ 1140552 h 1867634"/>
                  <a:gd name="connsiteX3" fmla="*/ 2234976 w 2254431"/>
                  <a:gd name="connsiteY3" fmla="*/ 710150 h 1867634"/>
                  <a:gd name="connsiteX4" fmla="*/ 2240336 w 2254431"/>
                  <a:gd name="connsiteY4" fmla="*/ 727150 h 1867634"/>
                  <a:gd name="connsiteX5" fmla="*/ 2234976 w 2254431"/>
                  <a:gd name="connsiteY5" fmla="*/ 737448 h 1867634"/>
                  <a:gd name="connsiteX6" fmla="*/ 2234976 w 2254431"/>
                  <a:gd name="connsiteY6" fmla="*/ 710150 h 1867634"/>
                  <a:gd name="connsiteX7" fmla="*/ 0 w 2254431"/>
                  <a:gd name="connsiteY7" fmla="*/ 933818 h 1867634"/>
                  <a:gd name="connsiteX8" fmla="*/ 273507 w 2254431"/>
                  <a:gd name="connsiteY8" fmla="*/ 1594126 h 1867634"/>
                  <a:gd name="connsiteX9" fmla="*/ 1594123 w 2254431"/>
                  <a:gd name="connsiteY9" fmla="*/ 1594126 h 1867634"/>
                  <a:gd name="connsiteX10" fmla="*/ 1818102 w 2254431"/>
                  <a:gd name="connsiteY10" fmla="*/ 1370146 h 1867634"/>
                  <a:gd name="connsiteX11" fmla="*/ 2067929 w 2254431"/>
                  <a:gd name="connsiteY11" fmla="*/ 1370150 h 1867634"/>
                  <a:gd name="connsiteX12" fmla="*/ 2249729 w 2254431"/>
                  <a:gd name="connsiteY12" fmla="*/ 1188348 h 1867634"/>
                  <a:gd name="connsiteX13" fmla="*/ 2249729 w 2254431"/>
                  <a:gd name="connsiteY13" fmla="*/ 938520 h 1867634"/>
                  <a:gd name="connsiteX14" fmla="*/ 2254431 w 2254431"/>
                  <a:gd name="connsiteY14" fmla="*/ 933818 h 1867634"/>
                  <a:gd name="connsiteX15" fmla="*/ 2249729 w 2254431"/>
                  <a:gd name="connsiteY15" fmla="*/ 929116 h 1867634"/>
                  <a:gd name="connsiteX16" fmla="*/ 2249729 w 2254431"/>
                  <a:gd name="connsiteY16" fmla="*/ 679292 h 1867634"/>
                  <a:gd name="connsiteX17" fmla="*/ 2067926 w 2254431"/>
                  <a:gd name="connsiteY17" fmla="*/ 497490 h 1867634"/>
                  <a:gd name="connsiteX18" fmla="*/ 1818099 w 2254431"/>
                  <a:gd name="connsiteY18" fmla="*/ 497490 h 1867634"/>
                  <a:gd name="connsiteX19" fmla="*/ 1594123 w 2254431"/>
                  <a:gd name="connsiteY19" fmla="*/ 273510 h 1867634"/>
                  <a:gd name="connsiteX20" fmla="*/ 273507 w 2254431"/>
                  <a:gd name="connsiteY20" fmla="*/ 273510 h 1867634"/>
                  <a:gd name="connsiteX21" fmla="*/ 0 w 2254431"/>
                  <a:gd name="connsiteY21" fmla="*/ 933818 h 1867634"/>
                  <a:gd name="connsiteX0" fmla="*/ 2234976 w 2254431"/>
                  <a:gd name="connsiteY0" fmla="*/ 710150 h 1867634"/>
                  <a:gd name="connsiteX1" fmla="*/ 2240336 w 2254431"/>
                  <a:gd name="connsiteY1" fmla="*/ 727150 h 1867634"/>
                  <a:gd name="connsiteX2" fmla="*/ 2234976 w 2254431"/>
                  <a:gd name="connsiteY2" fmla="*/ 737448 h 1867634"/>
                  <a:gd name="connsiteX3" fmla="*/ 2234976 w 2254431"/>
                  <a:gd name="connsiteY3" fmla="*/ 710150 h 1867634"/>
                  <a:gd name="connsiteX4" fmla="*/ 0 w 2254431"/>
                  <a:gd name="connsiteY4" fmla="*/ 933818 h 1867634"/>
                  <a:gd name="connsiteX5" fmla="*/ 273507 w 2254431"/>
                  <a:gd name="connsiteY5" fmla="*/ 1594126 h 1867634"/>
                  <a:gd name="connsiteX6" fmla="*/ 1594123 w 2254431"/>
                  <a:gd name="connsiteY6" fmla="*/ 1594126 h 1867634"/>
                  <a:gd name="connsiteX7" fmla="*/ 1818102 w 2254431"/>
                  <a:gd name="connsiteY7" fmla="*/ 1370146 h 1867634"/>
                  <a:gd name="connsiteX8" fmla="*/ 2067929 w 2254431"/>
                  <a:gd name="connsiteY8" fmla="*/ 1370150 h 1867634"/>
                  <a:gd name="connsiteX9" fmla="*/ 2249729 w 2254431"/>
                  <a:gd name="connsiteY9" fmla="*/ 1188348 h 1867634"/>
                  <a:gd name="connsiteX10" fmla="*/ 2249729 w 2254431"/>
                  <a:gd name="connsiteY10" fmla="*/ 938520 h 1867634"/>
                  <a:gd name="connsiteX11" fmla="*/ 2254431 w 2254431"/>
                  <a:gd name="connsiteY11" fmla="*/ 933818 h 1867634"/>
                  <a:gd name="connsiteX12" fmla="*/ 2249729 w 2254431"/>
                  <a:gd name="connsiteY12" fmla="*/ 929116 h 1867634"/>
                  <a:gd name="connsiteX13" fmla="*/ 2249729 w 2254431"/>
                  <a:gd name="connsiteY13" fmla="*/ 679292 h 1867634"/>
                  <a:gd name="connsiteX14" fmla="*/ 2067926 w 2254431"/>
                  <a:gd name="connsiteY14" fmla="*/ 497490 h 1867634"/>
                  <a:gd name="connsiteX15" fmla="*/ 1818099 w 2254431"/>
                  <a:gd name="connsiteY15" fmla="*/ 497490 h 1867634"/>
                  <a:gd name="connsiteX16" fmla="*/ 1594123 w 2254431"/>
                  <a:gd name="connsiteY16" fmla="*/ 273510 h 1867634"/>
                  <a:gd name="connsiteX17" fmla="*/ 273507 w 2254431"/>
                  <a:gd name="connsiteY17" fmla="*/ 273510 h 1867634"/>
                  <a:gd name="connsiteX18" fmla="*/ 0 w 2254431"/>
                  <a:gd name="connsiteY18" fmla="*/ 933818 h 1867634"/>
                  <a:gd name="connsiteX0" fmla="*/ 2234976 w 2254431"/>
                  <a:gd name="connsiteY0" fmla="*/ 737448 h 1867634"/>
                  <a:gd name="connsiteX1" fmla="*/ 2240336 w 2254431"/>
                  <a:gd name="connsiteY1" fmla="*/ 727150 h 1867634"/>
                  <a:gd name="connsiteX2" fmla="*/ 2234976 w 2254431"/>
                  <a:gd name="connsiteY2" fmla="*/ 737448 h 1867634"/>
                  <a:gd name="connsiteX3" fmla="*/ 0 w 2254431"/>
                  <a:gd name="connsiteY3" fmla="*/ 933818 h 1867634"/>
                  <a:gd name="connsiteX4" fmla="*/ 273507 w 2254431"/>
                  <a:gd name="connsiteY4" fmla="*/ 1594126 h 1867634"/>
                  <a:gd name="connsiteX5" fmla="*/ 1594123 w 2254431"/>
                  <a:gd name="connsiteY5" fmla="*/ 1594126 h 1867634"/>
                  <a:gd name="connsiteX6" fmla="*/ 1818102 w 2254431"/>
                  <a:gd name="connsiteY6" fmla="*/ 1370146 h 1867634"/>
                  <a:gd name="connsiteX7" fmla="*/ 2067929 w 2254431"/>
                  <a:gd name="connsiteY7" fmla="*/ 1370150 h 1867634"/>
                  <a:gd name="connsiteX8" fmla="*/ 2249729 w 2254431"/>
                  <a:gd name="connsiteY8" fmla="*/ 1188348 h 1867634"/>
                  <a:gd name="connsiteX9" fmla="*/ 2249729 w 2254431"/>
                  <a:gd name="connsiteY9" fmla="*/ 938520 h 1867634"/>
                  <a:gd name="connsiteX10" fmla="*/ 2254431 w 2254431"/>
                  <a:gd name="connsiteY10" fmla="*/ 933818 h 1867634"/>
                  <a:gd name="connsiteX11" fmla="*/ 2249729 w 2254431"/>
                  <a:gd name="connsiteY11" fmla="*/ 929116 h 1867634"/>
                  <a:gd name="connsiteX12" fmla="*/ 2249729 w 2254431"/>
                  <a:gd name="connsiteY12" fmla="*/ 679292 h 1867634"/>
                  <a:gd name="connsiteX13" fmla="*/ 2067926 w 2254431"/>
                  <a:gd name="connsiteY13" fmla="*/ 497490 h 1867634"/>
                  <a:gd name="connsiteX14" fmla="*/ 1818099 w 2254431"/>
                  <a:gd name="connsiteY14" fmla="*/ 497490 h 1867634"/>
                  <a:gd name="connsiteX15" fmla="*/ 1594123 w 2254431"/>
                  <a:gd name="connsiteY15" fmla="*/ 273510 h 1867634"/>
                  <a:gd name="connsiteX16" fmla="*/ 273507 w 2254431"/>
                  <a:gd name="connsiteY16" fmla="*/ 273510 h 1867634"/>
                  <a:gd name="connsiteX17" fmla="*/ 0 w 2254431"/>
                  <a:gd name="connsiteY17" fmla="*/ 933818 h 1867634"/>
                  <a:gd name="connsiteX0" fmla="*/ 0 w 2254431"/>
                  <a:gd name="connsiteY0" fmla="*/ 933818 h 1867634"/>
                  <a:gd name="connsiteX1" fmla="*/ 273507 w 2254431"/>
                  <a:gd name="connsiteY1" fmla="*/ 1594126 h 1867634"/>
                  <a:gd name="connsiteX2" fmla="*/ 1594123 w 2254431"/>
                  <a:gd name="connsiteY2" fmla="*/ 1594126 h 1867634"/>
                  <a:gd name="connsiteX3" fmla="*/ 1818102 w 2254431"/>
                  <a:gd name="connsiteY3" fmla="*/ 1370146 h 1867634"/>
                  <a:gd name="connsiteX4" fmla="*/ 2067929 w 2254431"/>
                  <a:gd name="connsiteY4" fmla="*/ 1370150 h 1867634"/>
                  <a:gd name="connsiteX5" fmla="*/ 2249729 w 2254431"/>
                  <a:gd name="connsiteY5" fmla="*/ 1188348 h 1867634"/>
                  <a:gd name="connsiteX6" fmla="*/ 2249729 w 2254431"/>
                  <a:gd name="connsiteY6" fmla="*/ 938520 h 1867634"/>
                  <a:gd name="connsiteX7" fmla="*/ 2254431 w 2254431"/>
                  <a:gd name="connsiteY7" fmla="*/ 933818 h 1867634"/>
                  <a:gd name="connsiteX8" fmla="*/ 2249729 w 2254431"/>
                  <a:gd name="connsiteY8" fmla="*/ 929116 h 1867634"/>
                  <a:gd name="connsiteX9" fmla="*/ 2249729 w 2254431"/>
                  <a:gd name="connsiteY9" fmla="*/ 679292 h 1867634"/>
                  <a:gd name="connsiteX10" fmla="*/ 2067926 w 2254431"/>
                  <a:gd name="connsiteY10" fmla="*/ 497490 h 1867634"/>
                  <a:gd name="connsiteX11" fmla="*/ 1818099 w 2254431"/>
                  <a:gd name="connsiteY11" fmla="*/ 497490 h 1867634"/>
                  <a:gd name="connsiteX12" fmla="*/ 1594123 w 2254431"/>
                  <a:gd name="connsiteY12" fmla="*/ 273510 h 1867634"/>
                  <a:gd name="connsiteX13" fmla="*/ 273507 w 2254431"/>
                  <a:gd name="connsiteY13" fmla="*/ 273510 h 1867634"/>
                  <a:gd name="connsiteX14" fmla="*/ 0 w 2254431"/>
                  <a:gd name="connsiteY14" fmla="*/ 933818 h 1867634"/>
                  <a:gd name="connsiteX0" fmla="*/ 0 w 2249729"/>
                  <a:gd name="connsiteY0" fmla="*/ 933818 h 1867634"/>
                  <a:gd name="connsiteX1" fmla="*/ 273507 w 2249729"/>
                  <a:gd name="connsiteY1" fmla="*/ 1594126 h 1867634"/>
                  <a:gd name="connsiteX2" fmla="*/ 1594123 w 2249729"/>
                  <a:gd name="connsiteY2" fmla="*/ 1594126 h 1867634"/>
                  <a:gd name="connsiteX3" fmla="*/ 1818102 w 2249729"/>
                  <a:gd name="connsiteY3" fmla="*/ 1370146 h 1867634"/>
                  <a:gd name="connsiteX4" fmla="*/ 2067929 w 2249729"/>
                  <a:gd name="connsiteY4" fmla="*/ 1370150 h 1867634"/>
                  <a:gd name="connsiteX5" fmla="*/ 2249729 w 2249729"/>
                  <a:gd name="connsiteY5" fmla="*/ 1188348 h 1867634"/>
                  <a:gd name="connsiteX6" fmla="*/ 2249729 w 2249729"/>
                  <a:gd name="connsiteY6" fmla="*/ 938520 h 1867634"/>
                  <a:gd name="connsiteX7" fmla="*/ 2249729 w 2249729"/>
                  <a:gd name="connsiteY7" fmla="*/ 929116 h 1867634"/>
                  <a:gd name="connsiteX8" fmla="*/ 2249729 w 2249729"/>
                  <a:gd name="connsiteY8" fmla="*/ 679292 h 1867634"/>
                  <a:gd name="connsiteX9" fmla="*/ 2067926 w 2249729"/>
                  <a:gd name="connsiteY9" fmla="*/ 497490 h 1867634"/>
                  <a:gd name="connsiteX10" fmla="*/ 1818099 w 2249729"/>
                  <a:gd name="connsiteY10" fmla="*/ 497490 h 1867634"/>
                  <a:gd name="connsiteX11" fmla="*/ 1594123 w 2249729"/>
                  <a:gd name="connsiteY11" fmla="*/ 273510 h 1867634"/>
                  <a:gd name="connsiteX12" fmla="*/ 273507 w 2249729"/>
                  <a:gd name="connsiteY12" fmla="*/ 273510 h 1867634"/>
                  <a:gd name="connsiteX13" fmla="*/ 0 w 2249729"/>
                  <a:gd name="connsiteY13" fmla="*/ 933818 h 1867634"/>
                  <a:gd name="connsiteX0" fmla="*/ 0 w 2249729"/>
                  <a:gd name="connsiteY0" fmla="*/ 933818 h 1867634"/>
                  <a:gd name="connsiteX1" fmla="*/ 273507 w 2249729"/>
                  <a:gd name="connsiteY1" fmla="*/ 1594126 h 1867634"/>
                  <a:gd name="connsiteX2" fmla="*/ 1594123 w 2249729"/>
                  <a:gd name="connsiteY2" fmla="*/ 1594126 h 1867634"/>
                  <a:gd name="connsiteX3" fmla="*/ 1818102 w 2249729"/>
                  <a:gd name="connsiteY3" fmla="*/ 1370146 h 1867634"/>
                  <a:gd name="connsiteX4" fmla="*/ 2067929 w 2249729"/>
                  <a:gd name="connsiteY4" fmla="*/ 1370150 h 1867634"/>
                  <a:gd name="connsiteX5" fmla="*/ 2249729 w 2249729"/>
                  <a:gd name="connsiteY5" fmla="*/ 1188348 h 1867634"/>
                  <a:gd name="connsiteX6" fmla="*/ 2249729 w 2249729"/>
                  <a:gd name="connsiteY6" fmla="*/ 929116 h 1867634"/>
                  <a:gd name="connsiteX7" fmla="*/ 2249729 w 2249729"/>
                  <a:gd name="connsiteY7" fmla="*/ 679292 h 1867634"/>
                  <a:gd name="connsiteX8" fmla="*/ 2067926 w 2249729"/>
                  <a:gd name="connsiteY8" fmla="*/ 497490 h 1867634"/>
                  <a:gd name="connsiteX9" fmla="*/ 1818099 w 2249729"/>
                  <a:gd name="connsiteY9" fmla="*/ 497490 h 1867634"/>
                  <a:gd name="connsiteX10" fmla="*/ 1594123 w 2249729"/>
                  <a:gd name="connsiteY10" fmla="*/ 273510 h 1867634"/>
                  <a:gd name="connsiteX11" fmla="*/ 273507 w 2249729"/>
                  <a:gd name="connsiteY11" fmla="*/ 273510 h 1867634"/>
                  <a:gd name="connsiteX12" fmla="*/ 0 w 2249729"/>
                  <a:gd name="connsiteY12" fmla="*/ 933818 h 1867634"/>
                  <a:gd name="connsiteX0" fmla="*/ 0 w 2249729"/>
                  <a:gd name="connsiteY0" fmla="*/ 933818 h 1867634"/>
                  <a:gd name="connsiteX1" fmla="*/ 273507 w 2249729"/>
                  <a:gd name="connsiteY1" fmla="*/ 1594126 h 1867634"/>
                  <a:gd name="connsiteX2" fmla="*/ 1594123 w 2249729"/>
                  <a:gd name="connsiteY2" fmla="*/ 1594126 h 1867634"/>
                  <a:gd name="connsiteX3" fmla="*/ 1818102 w 2249729"/>
                  <a:gd name="connsiteY3" fmla="*/ 1370146 h 1867634"/>
                  <a:gd name="connsiteX4" fmla="*/ 2067929 w 2249729"/>
                  <a:gd name="connsiteY4" fmla="*/ 1370150 h 1867634"/>
                  <a:gd name="connsiteX5" fmla="*/ 2249729 w 2249729"/>
                  <a:gd name="connsiteY5" fmla="*/ 1188348 h 1867634"/>
                  <a:gd name="connsiteX6" fmla="*/ 2249729 w 2249729"/>
                  <a:gd name="connsiteY6" fmla="*/ 679292 h 1867634"/>
                  <a:gd name="connsiteX7" fmla="*/ 2067926 w 2249729"/>
                  <a:gd name="connsiteY7" fmla="*/ 497490 h 1867634"/>
                  <a:gd name="connsiteX8" fmla="*/ 1818099 w 2249729"/>
                  <a:gd name="connsiteY8" fmla="*/ 497490 h 1867634"/>
                  <a:gd name="connsiteX9" fmla="*/ 1594123 w 2249729"/>
                  <a:gd name="connsiteY9" fmla="*/ 273510 h 1867634"/>
                  <a:gd name="connsiteX10" fmla="*/ 273507 w 2249729"/>
                  <a:gd name="connsiteY10" fmla="*/ 273510 h 1867634"/>
                  <a:gd name="connsiteX11" fmla="*/ 0 w 2249729"/>
                  <a:gd name="connsiteY11" fmla="*/ 933818 h 1867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9729" h="1867634">
                    <a:moveTo>
                      <a:pt x="0" y="933818"/>
                    </a:moveTo>
                    <a:cubicBezTo>
                      <a:pt x="0" y="1172804"/>
                      <a:pt x="91169" y="1411786"/>
                      <a:pt x="273507" y="1594126"/>
                    </a:cubicBezTo>
                    <a:cubicBezTo>
                      <a:pt x="638186" y="1958804"/>
                      <a:pt x="1229447" y="1958804"/>
                      <a:pt x="1594123" y="1594126"/>
                    </a:cubicBezTo>
                    <a:lnTo>
                      <a:pt x="1818102" y="1370146"/>
                    </a:lnTo>
                    <a:lnTo>
                      <a:pt x="2067929" y="1370150"/>
                    </a:lnTo>
                    <a:cubicBezTo>
                      <a:pt x="2168336" y="1370146"/>
                      <a:pt x="2249729" y="1288752"/>
                      <a:pt x="2249729" y="1188348"/>
                    </a:cubicBezTo>
                    <a:lnTo>
                      <a:pt x="2249729" y="679292"/>
                    </a:lnTo>
                    <a:cubicBezTo>
                      <a:pt x="2249729" y="578884"/>
                      <a:pt x="2168334" y="497490"/>
                      <a:pt x="2067926" y="497490"/>
                    </a:cubicBezTo>
                    <a:lnTo>
                      <a:pt x="1818099" y="497490"/>
                    </a:lnTo>
                    <a:lnTo>
                      <a:pt x="1594123" y="273510"/>
                    </a:lnTo>
                    <a:cubicBezTo>
                      <a:pt x="1229444" y="-91169"/>
                      <a:pt x="638186" y="-91169"/>
                      <a:pt x="273507" y="273510"/>
                    </a:cubicBezTo>
                    <a:cubicBezTo>
                      <a:pt x="91169" y="455848"/>
                      <a:pt x="0" y="694834"/>
                      <a:pt x="0" y="933818"/>
                    </a:cubicBezTo>
                    <a:close/>
                  </a:path>
                </a:pathLst>
              </a:custGeom>
              <a:solidFill>
                <a:schemeClr val="bg1"/>
              </a:solidFill>
              <a:ln w="444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ko-KR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5F9AA803-F45C-7D91-2E21-1D7142FC964F}"/>
                  </a:ext>
                </a:extLst>
              </p:cNvPr>
              <p:cNvSpPr/>
              <p:nvPr/>
            </p:nvSpPr>
            <p:spPr>
              <a:xfrm>
                <a:off x="10573495" y="2487332"/>
                <a:ext cx="803179" cy="686359"/>
              </a:xfrm>
              <a:custGeom>
                <a:avLst/>
                <a:gdLst>
                  <a:gd name="connsiteX0" fmla="*/ 184600 w 805532"/>
                  <a:gd name="connsiteY0" fmla="*/ 520107 h 687929"/>
                  <a:gd name="connsiteX1" fmla="*/ 620929 w 805532"/>
                  <a:gd name="connsiteY1" fmla="*/ 520110 h 687929"/>
                  <a:gd name="connsiteX2" fmla="*/ 704838 w 805532"/>
                  <a:gd name="connsiteY2" fmla="*/ 604019 h 687929"/>
                  <a:gd name="connsiteX3" fmla="*/ 620926 w 805532"/>
                  <a:gd name="connsiteY3" fmla="*/ 687929 h 687929"/>
                  <a:gd name="connsiteX4" fmla="*/ 184600 w 805532"/>
                  <a:gd name="connsiteY4" fmla="*/ 687926 h 687929"/>
                  <a:gd name="connsiteX5" fmla="*/ 100691 w 805532"/>
                  <a:gd name="connsiteY5" fmla="*/ 604019 h 687929"/>
                  <a:gd name="connsiteX6" fmla="*/ 184600 w 805532"/>
                  <a:gd name="connsiteY6" fmla="*/ 520107 h 687929"/>
                  <a:gd name="connsiteX7" fmla="*/ 117472 w 805532"/>
                  <a:gd name="connsiteY7" fmla="*/ 260053 h 687929"/>
                  <a:gd name="connsiteX8" fmla="*/ 688057 w 805532"/>
                  <a:gd name="connsiteY8" fmla="*/ 260053 h 687929"/>
                  <a:gd name="connsiteX9" fmla="*/ 771967 w 805532"/>
                  <a:gd name="connsiteY9" fmla="*/ 343963 h 687929"/>
                  <a:gd name="connsiteX10" fmla="*/ 688057 w 805532"/>
                  <a:gd name="connsiteY10" fmla="*/ 427875 h 687929"/>
                  <a:gd name="connsiteX11" fmla="*/ 117472 w 805532"/>
                  <a:gd name="connsiteY11" fmla="*/ 427872 h 687929"/>
                  <a:gd name="connsiteX12" fmla="*/ 33563 w 805532"/>
                  <a:gd name="connsiteY12" fmla="*/ 343963 h 687929"/>
                  <a:gd name="connsiteX13" fmla="*/ 117472 w 805532"/>
                  <a:gd name="connsiteY13" fmla="*/ 260053 h 687929"/>
                  <a:gd name="connsiteX14" fmla="*/ 83910 w 805532"/>
                  <a:gd name="connsiteY14" fmla="*/ 0 h 687929"/>
                  <a:gd name="connsiteX15" fmla="*/ 721623 w 805532"/>
                  <a:gd name="connsiteY15" fmla="*/ 0 h 687929"/>
                  <a:gd name="connsiteX16" fmla="*/ 805532 w 805532"/>
                  <a:gd name="connsiteY16" fmla="*/ 83910 h 687929"/>
                  <a:gd name="connsiteX17" fmla="*/ 805529 w 805532"/>
                  <a:gd name="connsiteY17" fmla="*/ 83910 h 687929"/>
                  <a:gd name="connsiteX18" fmla="*/ 721620 w 805532"/>
                  <a:gd name="connsiteY18" fmla="*/ 167819 h 687929"/>
                  <a:gd name="connsiteX19" fmla="*/ 83910 w 805532"/>
                  <a:gd name="connsiteY19" fmla="*/ 167819 h 687929"/>
                  <a:gd name="connsiteX20" fmla="*/ 0 w 805532"/>
                  <a:gd name="connsiteY20" fmla="*/ 83910 h 687929"/>
                  <a:gd name="connsiteX21" fmla="*/ 83910 w 805532"/>
                  <a:gd name="connsiteY21" fmla="*/ 0 h 687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805532" h="687929">
                    <a:moveTo>
                      <a:pt x="184600" y="520107"/>
                    </a:moveTo>
                    <a:lnTo>
                      <a:pt x="620929" y="520110"/>
                    </a:lnTo>
                    <a:cubicBezTo>
                      <a:pt x="667269" y="520110"/>
                      <a:pt x="704838" y="557676"/>
                      <a:pt x="704838" y="604019"/>
                    </a:cubicBezTo>
                    <a:cubicBezTo>
                      <a:pt x="704838" y="650360"/>
                      <a:pt x="667269" y="687929"/>
                      <a:pt x="620926" y="687929"/>
                    </a:cubicBezTo>
                    <a:lnTo>
                      <a:pt x="184600" y="687926"/>
                    </a:lnTo>
                    <a:cubicBezTo>
                      <a:pt x="138257" y="687926"/>
                      <a:pt x="100691" y="650360"/>
                      <a:pt x="100691" y="604019"/>
                    </a:cubicBezTo>
                    <a:cubicBezTo>
                      <a:pt x="100691" y="557676"/>
                      <a:pt x="138257" y="520107"/>
                      <a:pt x="184600" y="520107"/>
                    </a:cubicBezTo>
                    <a:close/>
                    <a:moveTo>
                      <a:pt x="117472" y="260053"/>
                    </a:moveTo>
                    <a:lnTo>
                      <a:pt x="688057" y="260053"/>
                    </a:lnTo>
                    <a:cubicBezTo>
                      <a:pt x="734401" y="260053"/>
                      <a:pt x="771967" y="297622"/>
                      <a:pt x="771967" y="343963"/>
                    </a:cubicBezTo>
                    <a:cubicBezTo>
                      <a:pt x="771967" y="390306"/>
                      <a:pt x="734398" y="427875"/>
                      <a:pt x="688057" y="427875"/>
                    </a:cubicBezTo>
                    <a:lnTo>
                      <a:pt x="117472" y="427872"/>
                    </a:lnTo>
                    <a:cubicBezTo>
                      <a:pt x="71132" y="427872"/>
                      <a:pt x="33566" y="390306"/>
                      <a:pt x="33563" y="343963"/>
                    </a:cubicBezTo>
                    <a:cubicBezTo>
                      <a:pt x="33566" y="297622"/>
                      <a:pt x="71132" y="260053"/>
                      <a:pt x="117472" y="260053"/>
                    </a:cubicBezTo>
                    <a:close/>
                    <a:moveTo>
                      <a:pt x="83910" y="0"/>
                    </a:moveTo>
                    <a:lnTo>
                      <a:pt x="721623" y="0"/>
                    </a:lnTo>
                    <a:cubicBezTo>
                      <a:pt x="767963" y="0"/>
                      <a:pt x="805532" y="37569"/>
                      <a:pt x="805532" y="83910"/>
                    </a:cubicBezTo>
                    <a:lnTo>
                      <a:pt x="805529" y="83910"/>
                    </a:lnTo>
                    <a:cubicBezTo>
                      <a:pt x="805529" y="130253"/>
                      <a:pt x="767963" y="167819"/>
                      <a:pt x="721620" y="167819"/>
                    </a:cubicBezTo>
                    <a:lnTo>
                      <a:pt x="83910" y="167819"/>
                    </a:lnTo>
                    <a:cubicBezTo>
                      <a:pt x="37569" y="167819"/>
                      <a:pt x="0" y="130253"/>
                      <a:pt x="0" y="83910"/>
                    </a:cubicBezTo>
                    <a:cubicBezTo>
                      <a:pt x="0" y="37566"/>
                      <a:pt x="37569" y="0"/>
                      <a:pt x="83910" y="0"/>
                    </a:cubicBez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22F9CFF6-83F6-67E9-094B-5583D753755E}"/>
                  </a:ext>
                </a:extLst>
              </p:cNvPr>
              <p:cNvSpPr/>
              <p:nvPr/>
            </p:nvSpPr>
            <p:spPr>
              <a:xfrm>
                <a:off x="10606352" y="1030644"/>
                <a:ext cx="763021" cy="1314304"/>
              </a:xfrm>
              <a:custGeom>
                <a:avLst/>
                <a:gdLst>
                  <a:gd name="connsiteX0" fmla="*/ 1028878 w 3847556"/>
                  <a:gd name="connsiteY0" fmla="*/ 0 h 6633998"/>
                  <a:gd name="connsiteX1" fmla="*/ 1293726 w 3847556"/>
                  <a:gd name="connsiteY1" fmla="*/ 264865 h 6633998"/>
                  <a:gd name="connsiteX2" fmla="*/ 1293726 w 3847556"/>
                  <a:gd name="connsiteY2" fmla="*/ 664770 h 6633998"/>
                  <a:gd name="connsiteX3" fmla="*/ 1656529 w 3847556"/>
                  <a:gd name="connsiteY3" fmla="*/ 664770 h 6633998"/>
                  <a:gd name="connsiteX4" fmla="*/ 1656545 w 3847556"/>
                  <a:gd name="connsiteY4" fmla="*/ 264865 h 6633998"/>
                  <a:gd name="connsiteX5" fmla="*/ 1921394 w 3847556"/>
                  <a:gd name="connsiteY5" fmla="*/ 0 h 6633998"/>
                  <a:gd name="connsiteX6" fmla="*/ 2186253 w 3847556"/>
                  <a:gd name="connsiteY6" fmla="*/ 264865 h 6633998"/>
                  <a:gd name="connsiteX7" fmla="*/ 2186253 w 3847556"/>
                  <a:gd name="connsiteY7" fmla="*/ 664770 h 6633998"/>
                  <a:gd name="connsiteX8" fmla="*/ 2549056 w 3847556"/>
                  <a:gd name="connsiteY8" fmla="*/ 664770 h 6633998"/>
                  <a:gd name="connsiteX9" fmla="*/ 2549056 w 3847556"/>
                  <a:gd name="connsiteY9" fmla="*/ 264865 h 6633998"/>
                  <a:gd name="connsiteX10" fmla="*/ 2813921 w 3847556"/>
                  <a:gd name="connsiteY10" fmla="*/ 0 h 6633998"/>
                  <a:gd name="connsiteX11" fmla="*/ 3078781 w 3847556"/>
                  <a:gd name="connsiteY11" fmla="*/ 264865 h 6633998"/>
                  <a:gd name="connsiteX12" fmla="*/ 3078764 w 3847556"/>
                  <a:gd name="connsiteY12" fmla="*/ 664770 h 6633998"/>
                  <a:gd name="connsiteX13" fmla="*/ 3512447 w 3847556"/>
                  <a:gd name="connsiteY13" fmla="*/ 664770 h 6633998"/>
                  <a:gd name="connsiteX14" fmla="*/ 3520693 w 3847556"/>
                  <a:gd name="connsiteY14" fmla="*/ 668198 h 6633998"/>
                  <a:gd name="connsiteX15" fmla="*/ 3610357 w 3847556"/>
                  <a:gd name="connsiteY15" fmla="*/ 641623 h 6633998"/>
                  <a:gd name="connsiteX16" fmla="*/ 3846084 w 3847556"/>
                  <a:gd name="connsiteY16" fmla="*/ 932715 h 6633998"/>
                  <a:gd name="connsiteX17" fmla="*/ 3273917 w 3847556"/>
                  <a:gd name="connsiteY17" fmla="*/ 6376417 h 6633998"/>
                  <a:gd name="connsiteX18" fmla="*/ 2982826 w 3847556"/>
                  <a:gd name="connsiteY18" fmla="*/ 6612116 h 6633998"/>
                  <a:gd name="connsiteX19" fmla="*/ 2747105 w 3847556"/>
                  <a:gd name="connsiteY19" fmla="*/ 6321024 h 6633998"/>
                  <a:gd name="connsiteX20" fmla="*/ 3304490 w 3847556"/>
                  <a:gd name="connsiteY20" fmla="*/ 1017914 h 6633998"/>
                  <a:gd name="connsiteX21" fmla="*/ 3078764 w 3847556"/>
                  <a:gd name="connsiteY21" fmla="*/ 1017930 h 6633998"/>
                  <a:gd name="connsiteX22" fmla="*/ 3078764 w 3847556"/>
                  <a:gd name="connsiteY22" fmla="*/ 1417857 h 6633998"/>
                  <a:gd name="connsiteX23" fmla="*/ 2813921 w 3847556"/>
                  <a:gd name="connsiteY23" fmla="*/ 1682700 h 6633998"/>
                  <a:gd name="connsiteX24" fmla="*/ 2549056 w 3847556"/>
                  <a:gd name="connsiteY24" fmla="*/ 1417841 h 6633998"/>
                  <a:gd name="connsiteX25" fmla="*/ 2549056 w 3847556"/>
                  <a:gd name="connsiteY25" fmla="*/ 1017930 h 6633998"/>
                  <a:gd name="connsiteX26" fmla="*/ 2186253 w 3847556"/>
                  <a:gd name="connsiteY26" fmla="*/ 1017930 h 6633998"/>
                  <a:gd name="connsiteX27" fmla="*/ 2186237 w 3847556"/>
                  <a:gd name="connsiteY27" fmla="*/ 1417841 h 6633998"/>
                  <a:gd name="connsiteX28" fmla="*/ 1921394 w 3847556"/>
                  <a:gd name="connsiteY28" fmla="*/ 1682700 h 6633998"/>
                  <a:gd name="connsiteX29" fmla="*/ 1656529 w 3847556"/>
                  <a:gd name="connsiteY29" fmla="*/ 1417841 h 6633998"/>
                  <a:gd name="connsiteX30" fmla="*/ 1656529 w 3847556"/>
                  <a:gd name="connsiteY30" fmla="*/ 1017930 h 6633998"/>
                  <a:gd name="connsiteX31" fmla="*/ 1293726 w 3847556"/>
                  <a:gd name="connsiteY31" fmla="*/ 1017930 h 6633998"/>
                  <a:gd name="connsiteX32" fmla="*/ 1293726 w 3847556"/>
                  <a:gd name="connsiteY32" fmla="*/ 1417841 h 6633998"/>
                  <a:gd name="connsiteX33" fmla="*/ 1216149 w 3847556"/>
                  <a:gd name="connsiteY33" fmla="*/ 1605128 h 6633998"/>
                  <a:gd name="connsiteX34" fmla="*/ 1028872 w 3847556"/>
                  <a:gd name="connsiteY34" fmla="*/ 1682700 h 6633998"/>
                  <a:gd name="connsiteX35" fmla="*/ 841580 w 3847556"/>
                  <a:gd name="connsiteY35" fmla="*/ 1605122 h 6633998"/>
                  <a:gd name="connsiteX36" fmla="*/ 764018 w 3847556"/>
                  <a:gd name="connsiteY36" fmla="*/ 1417841 h 6633998"/>
                  <a:gd name="connsiteX37" fmla="*/ 764018 w 3847556"/>
                  <a:gd name="connsiteY37" fmla="*/ 1017914 h 6633998"/>
                  <a:gd name="connsiteX38" fmla="*/ 539645 w 3847556"/>
                  <a:gd name="connsiteY38" fmla="*/ 1017930 h 6633998"/>
                  <a:gd name="connsiteX39" fmla="*/ 1005791 w 3847556"/>
                  <a:gd name="connsiteY39" fmla="*/ 6346040 h 6633998"/>
                  <a:gd name="connsiteX40" fmla="*/ 765023 w 3847556"/>
                  <a:gd name="connsiteY40" fmla="*/ 6632976 h 6633998"/>
                  <a:gd name="connsiteX41" fmla="*/ 478087 w 3847556"/>
                  <a:gd name="connsiteY41" fmla="*/ 6392208 h 6633998"/>
                  <a:gd name="connsiteX42" fmla="*/ 1023 w 3847556"/>
                  <a:gd name="connsiteY42" fmla="*/ 939358 h 6633998"/>
                  <a:gd name="connsiteX43" fmla="*/ 241807 w 3847556"/>
                  <a:gd name="connsiteY43" fmla="*/ 652422 h 6633998"/>
                  <a:gd name="connsiteX44" fmla="*/ 311187 w 3847556"/>
                  <a:gd name="connsiteY44" fmla="*/ 674309 h 6633998"/>
                  <a:gd name="connsiteX45" fmla="*/ 334193 w 3847556"/>
                  <a:gd name="connsiteY45" fmla="*/ 664770 h 6633998"/>
                  <a:gd name="connsiteX46" fmla="*/ 764018 w 3847556"/>
                  <a:gd name="connsiteY46" fmla="*/ 664770 h 6633998"/>
                  <a:gd name="connsiteX47" fmla="*/ 764018 w 3847556"/>
                  <a:gd name="connsiteY47" fmla="*/ 264865 h 6633998"/>
                  <a:gd name="connsiteX48" fmla="*/ 1028878 w 3847556"/>
                  <a:gd name="connsiteY48" fmla="*/ 0 h 6633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847556" h="6633998">
                    <a:moveTo>
                      <a:pt x="1028878" y="0"/>
                    </a:moveTo>
                    <a:cubicBezTo>
                      <a:pt x="1175157" y="0"/>
                      <a:pt x="1293726" y="118591"/>
                      <a:pt x="1293726" y="264865"/>
                    </a:cubicBezTo>
                    <a:lnTo>
                      <a:pt x="1293726" y="664770"/>
                    </a:lnTo>
                    <a:lnTo>
                      <a:pt x="1656529" y="664770"/>
                    </a:lnTo>
                    <a:lnTo>
                      <a:pt x="1656545" y="264865"/>
                    </a:lnTo>
                    <a:cubicBezTo>
                      <a:pt x="1656529" y="118591"/>
                      <a:pt x="1775115" y="17"/>
                      <a:pt x="1921394" y="0"/>
                    </a:cubicBezTo>
                    <a:cubicBezTo>
                      <a:pt x="2067668" y="17"/>
                      <a:pt x="2186237" y="118591"/>
                      <a:pt x="2186253" y="264865"/>
                    </a:cubicBezTo>
                    <a:lnTo>
                      <a:pt x="2186253" y="664770"/>
                    </a:lnTo>
                    <a:lnTo>
                      <a:pt x="2549056" y="664770"/>
                    </a:lnTo>
                    <a:lnTo>
                      <a:pt x="2549056" y="264865"/>
                    </a:lnTo>
                    <a:cubicBezTo>
                      <a:pt x="2549056" y="118575"/>
                      <a:pt x="2667642" y="0"/>
                      <a:pt x="2813921" y="0"/>
                    </a:cubicBezTo>
                    <a:cubicBezTo>
                      <a:pt x="2960211" y="0"/>
                      <a:pt x="3078781" y="118591"/>
                      <a:pt x="3078781" y="264865"/>
                    </a:cubicBezTo>
                    <a:lnTo>
                      <a:pt x="3078764" y="664770"/>
                    </a:lnTo>
                    <a:lnTo>
                      <a:pt x="3512447" y="664770"/>
                    </a:lnTo>
                    <a:lnTo>
                      <a:pt x="3520693" y="668198"/>
                    </a:lnTo>
                    <a:cubicBezTo>
                      <a:pt x="3545659" y="640863"/>
                      <a:pt x="3577628" y="638174"/>
                      <a:pt x="3610357" y="641623"/>
                    </a:cubicBezTo>
                    <a:cubicBezTo>
                      <a:pt x="3755838" y="656915"/>
                      <a:pt x="3861375" y="787234"/>
                      <a:pt x="3846084" y="932715"/>
                    </a:cubicBezTo>
                    <a:cubicBezTo>
                      <a:pt x="3655380" y="2747282"/>
                      <a:pt x="3464643" y="4561839"/>
                      <a:pt x="3273917" y="6376417"/>
                    </a:cubicBezTo>
                    <a:cubicBezTo>
                      <a:pt x="3258626" y="6521887"/>
                      <a:pt x="3128312" y="6627419"/>
                      <a:pt x="2982826" y="6612116"/>
                    </a:cubicBezTo>
                    <a:cubicBezTo>
                      <a:pt x="2837361" y="6596835"/>
                      <a:pt x="2731824" y="6466505"/>
                      <a:pt x="2747105" y="6321024"/>
                    </a:cubicBezTo>
                    <a:lnTo>
                      <a:pt x="3304490" y="1017914"/>
                    </a:lnTo>
                    <a:lnTo>
                      <a:pt x="3078764" y="1017930"/>
                    </a:lnTo>
                    <a:cubicBezTo>
                      <a:pt x="3078764" y="1151232"/>
                      <a:pt x="3078764" y="1284539"/>
                      <a:pt x="3078764" y="1417857"/>
                    </a:cubicBezTo>
                    <a:cubicBezTo>
                      <a:pt x="3078764" y="1564114"/>
                      <a:pt x="2960195" y="1682700"/>
                      <a:pt x="2813921" y="1682700"/>
                    </a:cubicBezTo>
                    <a:cubicBezTo>
                      <a:pt x="2667631" y="1682700"/>
                      <a:pt x="2549056" y="1564131"/>
                      <a:pt x="2549056" y="1417841"/>
                    </a:cubicBezTo>
                    <a:lnTo>
                      <a:pt x="2549056" y="1017930"/>
                    </a:lnTo>
                    <a:lnTo>
                      <a:pt x="2186253" y="1017930"/>
                    </a:lnTo>
                    <a:cubicBezTo>
                      <a:pt x="2186237" y="1151221"/>
                      <a:pt x="2186237" y="1284555"/>
                      <a:pt x="2186237" y="1417841"/>
                    </a:cubicBezTo>
                    <a:cubicBezTo>
                      <a:pt x="2186237" y="1564131"/>
                      <a:pt x="2067651" y="1682700"/>
                      <a:pt x="1921394" y="1682700"/>
                    </a:cubicBezTo>
                    <a:cubicBezTo>
                      <a:pt x="1775115" y="1682700"/>
                      <a:pt x="1656529" y="1564131"/>
                      <a:pt x="1656529" y="1417841"/>
                    </a:cubicBezTo>
                    <a:lnTo>
                      <a:pt x="1656529" y="1017930"/>
                    </a:lnTo>
                    <a:lnTo>
                      <a:pt x="1293726" y="1017930"/>
                    </a:lnTo>
                    <a:cubicBezTo>
                      <a:pt x="1293710" y="1151221"/>
                      <a:pt x="1293726" y="1284539"/>
                      <a:pt x="1293726" y="1417841"/>
                    </a:cubicBezTo>
                    <a:cubicBezTo>
                      <a:pt x="1293726" y="1490986"/>
                      <a:pt x="1264077" y="1557199"/>
                      <a:pt x="1216149" y="1605128"/>
                    </a:cubicBezTo>
                    <a:lnTo>
                      <a:pt x="1028872" y="1682700"/>
                    </a:lnTo>
                    <a:lnTo>
                      <a:pt x="841580" y="1605122"/>
                    </a:lnTo>
                    <a:cubicBezTo>
                      <a:pt x="793651" y="1557199"/>
                      <a:pt x="764007" y="1490986"/>
                      <a:pt x="764018" y="1417841"/>
                    </a:cubicBezTo>
                    <a:lnTo>
                      <a:pt x="764018" y="1017914"/>
                    </a:lnTo>
                    <a:lnTo>
                      <a:pt x="539645" y="1017930"/>
                    </a:lnTo>
                    <a:cubicBezTo>
                      <a:pt x="695040" y="2793967"/>
                      <a:pt x="850418" y="4570003"/>
                      <a:pt x="1005791" y="6346040"/>
                    </a:cubicBezTo>
                    <a:cubicBezTo>
                      <a:pt x="1018529" y="6491754"/>
                      <a:pt x="910743" y="6620221"/>
                      <a:pt x="765023" y="6632976"/>
                    </a:cubicBezTo>
                    <a:cubicBezTo>
                      <a:pt x="619293" y="6645714"/>
                      <a:pt x="490842" y="6537928"/>
                      <a:pt x="478087" y="6392208"/>
                    </a:cubicBezTo>
                    <a:lnTo>
                      <a:pt x="1023" y="939358"/>
                    </a:lnTo>
                    <a:cubicBezTo>
                      <a:pt x="-11716" y="793639"/>
                      <a:pt x="96076" y="665177"/>
                      <a:pt x="241807" y="652422"/>
                    </a:cubicBezTo>
                    <a:lnTo>
                      <a:pt x="311187" y="674309"/>
                    </a:lnTo>
                    <a:cubicBezTo>
                      <a:pt x="317983" y="665335"/>
                      <a:pt x="326028" y="664770"/>
                      <a:pt x="334193" y="664770"/>
                    </a:cubicBezTo>
                    <a:lnTo>
                      <a:pt x="764018" y="664770"/>
                    </a:lnTo>
                    <a:lnTo>
                      <a:pt x="764018" y="264865"/>
                    </a:lnTo>
                    <a:cubicBezTo>
                      <a:pt x="764018" y="118591"/>
                      <a:pt x="882588" y="0"/>
                      <a:pt x="1028878" y="0"/>
                    </a:cubicBez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</p:grpSp>
        <p:grpSp>
          <p:nvGrpSpPr>
            <p:cNvPr id="5" name="Group 3">
              <a:extLst>
                <a:ext uri="{FF2B5EF4-FFF2-40B4-BE49-F238E27FC236}">
                  <a16:creationId xmlns:a16="http://schemas.microsoft.com/office/drawing/2014/main" id="{276F75C8-D3F8-79F5-C760-484422A345F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6374086"/>
              <a:ext cx="11401431" cy="237804"/>
              <a:chOff x="0" y="6374086"/>
              <a:chExt cx="11401431" cy="237804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4E62BCF5-D5BC-195F-7AC3-08D2158FEFD8}"/>
                  </a:ext>
                </a:extLst>
              </p:cNvPr>
              <p:cNvSpPr/>
              <p:nvPr/>
            </p:nvSpPr>
            <p:spPr>
              <a:xfrm>
                <a:off x="0" y="6565849"/>
                <a:ext cx="11311549" cy="46041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E9EC07C0-AF69-9675-9B78-F1F14353CEAF}"/>
                  </a:ext>
                </a:extLst>
              </p:cNvPr>
              <p:cNvSpPr/>
              <p:nvPr/>
            </p:nvSpPr>
            <p:spPr>
              <a:xfrm>
                <a:off x="11356002" y="6373750"/>
                <a:ext cx="46039" cy="1555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8" name="Block Arc 7">
                <a:extLst>
                  <a:ext uri="{FF2B5EF4-FFF2-40B4-BE49-F238E27FC236}">
                    <a16:creationId xmlns:a16="http://schemas.microsoft.com/office/drawing/2014/main" id="{DCB60FB1-BA81-AC15-598C-D393A7581FA6}"/>
                  </a:ext>
                </a:extLst>
              </p:cNvPr>
              <p:cNvSpPr/>
              <p:nvPr/>
            </p:nvSpPr>
            <p:spPr>
              <a:xfrm>
                <a:off x="11230582" y="6440429"/>
                <a:ext cx="171459" cy="171461"/>
              </a:xfrm>
              <a:prstGeom prst="blockArc">
                <a:avLst>
                  <a:gd name="adj1" fmla="val 21339429"/>
                  <a:gd name="adj2" fmla="val 6091498"/>
                  <a:gd name="adj3" fmla="val 2709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96719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FF64586-21A2-0342-97AC-1203E0147D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364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02984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4065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06E47833-EA54-4B75-BE6B-4C9356A977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489153" y="830338"/>
            <a:ext cx="3082244" cy="2677425"/>
          </a:xfrm>
          <a:prstGeom prst="parallelogram">
            <a:avLst>
              <a:gd name="adj" fmla="val 38849"/>
            </a:avLst>
          </a:prstGeom>
          <a:solidFill>
            <a:schemeClr val="bg1">
              <a:lumMod val="95000"/>
            </a:schemeClr>
          </a:solidFill>
        </p:spPr>
        <p:txBody>
          <a:bodyPr tIns="0"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BFAA4E01-2BD5-4B03-88A7-337F27D418F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03513" y="830338"/>
            <a:ext cx="3082244" cy="2677425"/>
          </a:xfrm>
          <a:prstGeom prst="parallelogram">
            <a:avLst>
              <a:gd name="adj" fmla="val 38849"/>
            </a:avLst>
          </a:prstGeom>
          <a:solidFill>
            <a:schemeClr val="bg1">
              <a:lumMod val="95000"/>
            </a:schemeClr>
          </a:solidFill>
        </p:spPr>
        <p:txBody>
          <a:bodyPr tIns="0"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73E4E795-5EEE-4740-A183-83C37E7CE5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17873" y="830337"/>
            <a:ext cx="3082244" cy="2677425"/>
          </a:xfrm>
          <a:prstGeom prst="parallelogram">
            <a:avLst>
              <a:gd name="adj" fmla="val 38849"/>
            </a:avLst>
          </a:prstGeom>
          <a:solidFill>
            <a:schemeClr val="bg1">
              <a:lumMod val="95000"/>
            </a:schemeClr>
          </a:solidFill>
        </p:spPr>
        <p:txBody>
          <a:bodyPr tIns="0"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7B740AC6-8F21-4A94-839D-C0FFBF79FA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2233" y="830336"/>
            <a:ext cx="3082244" cy="2677425"/>
          </a:xfrm>
          <a:prstGeom prst="parallelogram">
            <a:avLst>
              <a:gd name="adj" fmla="val 38849"/>
            </a:avLst>
          </a:prstGeom>
          <a:solidFill>
            <a:schemeClr val="bg1">
              <a:lumMod val="95000"/>
            </a:schemeClr>
          </a:solidFill>
        </p:spPr>
        <p:txBody>
          <a:bodyPr tIns="0"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539616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5990891-A407-4083-90D9-EDB81A1D2836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687337" y="1254229"/>
            <a:ext cx="11504663" cy="299555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665708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64371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>
            <a:extLst>
              <a:ext uri="{FF2B5EF4-FFF2-40B4-BE49-F238E27FC236}">
                <a16:creationId xmlns:a16="http://schemas.microsoft.com/office/drawing/2014/main" id="{052B485F-EA15-4698-9895-28C209313AFC}"/>
              </a:ext>
            </a:extLst>
          </p:cNvPr>
          <p:cNvSpPr/>
          <p:nvPr userDrawn="1"/>
        </p:nvSpPr>
        <p:spPr>
          <a:xfrm>
            <a:off x="1" y="2060849"/>
            <a:ext cx="4190267" cy="17285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800"/>
          </a:p>
        </p:txBody>
      </p:sp>
      <p:sp>
        <p:nvSpPr>
          <p:cNvPr id="3" name="Rectangle 16">
            <a:extLst>
              <a:ext uri="{FF2B5EF4-FFF2-40B4-BE49-F238E27FC236}">
                <a16:creationId xmlns:a16="http://schemas.microsoft.com/office/drawing/2014/main" id="{CC4FB6C6-B749-4587-B3B4-09BD00EBAAF6}"/>
              </a:ext>
            </a:extLst>
          </p:cNvPr>
          <p:cNvSpPr/>
          <p:nvPr userDrawn="1"/>
        </p:nvSpPr>
        <p:spPr>
          <a:xfrm>
            <a:off x="7769438" y="3261741"/>
            <a:ext cx="4422562" cy="172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800"/>
          </a:p>
        </p:txBody>
      </p:sp>
      <p:grpSp>
        <p:nvGrpSpPr>
          <p:cNvPr id="4" name="Graphic 14">
            <a:extLst>
              <a:ext uri="{FF2B5EF4-FFF2-40B4-BE49-F238E27FC236}">
                <a16:creationId xmlns:a16="http://schemas.microsoft.com/office/drawing/2014/main" id="{ED2B33C8-78A4-4ABB-938C-C8B4EF619B0B}"/>
              </a:ext>
            </a:extLst>
          </p:cNvPr>
          <p:cNvGrpSpPr/>
          <p:nvPr userDrawn="1"/>
        </p:nvGrpSpPr>
        <p:grpSpPr>
          <a:xfrm>
            <a:off x="4057675" y="1772818"/>
            <a:ext cx="3867113" cy="3041550"/>
            <a:chOff x="2444748" y="555044"/>
            <a:chExt cx="7282046" cy="5727455"/>
          </a:xfrm>
        </p:grpSpPr>
        <p:sp>
          <p:nvSpPr>
            <p:cNvPr id="5" name="Freeform: Shape 5">
              <a:extLst>
                <a:ext uri="{FF2B5EF4-FFF2-40B4-BE49-F238E27FC236}">
                  <a16:creationId xmlns:a16="http://schemas.microsoft.com/office/drawing/2014/main" id="{DEC648F6-8D3C-49A7-9CD4-F134D31A0B76}"/>
                </a:ext>
              </a:extLst>
            </p:cNvPr>
            <p:cNvSpPr/>
            <p:nvPr/>
          </p:nvSpPr>
          <p:spPr>
            <a:xfrm>
              <a:off x="4964692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6">
              <a:extLst>
                <a:ext uri="{FF2B5EF4-FFF2-40B4-BE49-F238E27FC236}">
                  <a16:creationId xmlns:a16="http://schemas.microsoft.com/office/drawing/2014/main" id="{657002FD-B659-4676-A5F3-CD98885D52FE}"/>
                </a:ext>
              </a:extLst>
            </p:cNvPr>
            <p:cNvSpPr/>
            <p:nvPr/>
          </p:nvSpPr>
          <p:spPr>
            <a:xfrm>
              <a:off x="2444748" y="555044"/>
              <a:ext cx="7282046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id="{9F59F015-3FBC-4C5E-83BB-CDEF4CC3D12A}"/>
                </a:ext>
              </a:extLst>
            </p:cNvPr>
            <p:cNvSpPr/>
            <p:nvPr/>
          </p:nvSpPr>
          <p:spPr>
            <a:xfrm>
              <a:off x="8706598" y="5435656"/>
              <a:ext cx="490924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8">
              <a:extLst>
                <a:ext uri="{FF2B5EF4-FFF2-40B4-BE49-F238E27FC236}">
                  <a16:creationId xmlns:a16="http://schemas.microsoft.com/office/drawing/2014/main" id="{6F0F37F5-F7D4-4A15-B23E-F44504BFE495}"/>
                </a:ext>
              </a:extLst>
            </p:cNvPr>
            <p:cNvSpPr/>
            <p:nvPr/>
          </p:nvSpPr>
          <p:spPr>
            <a:xfrm>
              <a:off x="2481568" y="595956"/>
              <a:ext cx="7200227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: Shape 9">
              <a:extLst>
                <a:ext uri="{FF2B5EF4-FFF2-40B4-BE49-F238E27FC236}">
                  <a16:creationId xmlns:a16="http://schemas.microsoft.com/office/drawing/2014/main" id="{C717899C-A9F8-4538-B189-1D93A0ADE242}"/>
                </a:ext>
              </a:extLst>
            </p:cNvPr>
            <p:cNvSpPr/>
            <p:nvPr/>
          </p:nvSpPr>
          <p:spPr>
            <a:xfrm>
              <a:off x="4968920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eform: Shape 10">
              <a:extLst>
                <a:ext uri="{FF2B5EF4-FFF2-40B4-BE49-F238E27FC236}">
                  <a16:creationId xmlns:a16="http://schemas.microsoft.com/office/drawing/2014/main" id="{AF681879-E332-4667-A3DD-D285370C6011}"/>
                </a:ext>
              </a:extLst>
            </p:cNvPr>
            <p:cNvSpPr/>
            <p:nvPr/>
          </p:nvSpPr>
          <p:spPr>
            <a:xfrm>
              <a:off x="2481568" y="4903820"/>
              <a:ext cx="7200227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1">
              <a:extLst>
                <a:ext uri="{FF2B5EF4-FFF2-40B4-BE49-F238E27FC236}">
                  <a16:creationId xmlns:a16="http://schemas.microsoft.com/office/drawing/2014/main" id="{D975E02C-E219-40F8-B258-7BB8FDEB2479}"/>
                </a:ext>
              </a:extLst>
            </p:cNvPr>
            <p:cNvSpPr/>
            <p:nvPr/>
          </p:nvSpPr>
          <p:spPr>
            <a:xfrm>
              <a:off x="2747714" y="910966"/>
              <a:ext cx="6676114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2">
              <a:extLst>
                <a:ext uri="{FF2B5EF4-FFF2-40B4-BE49-F238E27FC236}">
                  <a16:creationId xmlns:a16="http://schemas.microsoft.com/office/drawing/2014/main" id="{258962D9-524F-42E6-AA6E-C9B50F490963}"/>
                </a:ext>
              </a:extLst>
            </p:cNvPr>
            <p:cNvSpPr/>
            <p:nvPr/>
          </p:nvSpPr>
          <p:spPr>
            <a:xfrm>
              <a:off x="5654591" y="939517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3" name="그림 개체 틀 2">
            <a:extLst>
              <a:ext uri="{FF2B5EF4-FFF2-40B4-BE49-F238E27FC236}">
                <a16:creationId xmlns:a16="http://schemas.microsoft.com/office/drawing/2014/main" id="{D60EF0F3-CB71-4497-9834-6FEE9CF6934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203257" y="1895562"/>
            <a:ext cx="3599245" cy="212148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  <p:sp>
        <p:nvSpPr>
          <p:cNvPr id="14" name="그림 개체 틀 2">
            <a:extLst>
              <a:ext uri="{FF2B5EF4-FFF2-40B4-BE49-F238E27FC236}">
                <a16:creationId xmlns:a16="http://schemas.microsoft.com/office/drawing/2014/main" id="{A24ADF49-0093-4BF3-A045-0F3461FBDF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7114449" y="3260426"/>
            <a:ext cx="1045514" cy="1728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A154447-C4FE-4332-8D76-49A02E250B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1363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811302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g object 16">
            <a:extLst>
              <a:ext uri="{FF2B5EF4-FFF2-40B4-BE49-F238E27FC236}">
                <a16:creationId xmlns:a16="http://schemas.microsoft.com/office/drawing/2014/main" id="{C2CA5034-82F4-A380-FA4A-DE3581BFF576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00428" y="0"/>
            <a:ext cx="4392764" cy="3738593"/>
          </a:xfrm>
          <a:prstGeom prst="rect">
            <a:avLst/>
          </a:prstGeom>
        </p:spPr>
      </p:pic>
      <p:sp>
        <p:nvSpPr>
          <p:cNvPr id="4" name="bg object 17">
            <a:extLst>
              <a:ext uri="{FF2B5EF4-FFF2-40B4-BE49-F238E27FC236}">
                <a16:creationId xmlns:a16="http://schemas.microsoft.com/office/drawing/2014/main" id="{A22AA651-63DA-3915-58F6-1EA7135528AF}"/>
              </a:ext>
            </a:extLst>
          </p:cNvPr>
          <p:cNvSpPr/>
          <p:nvPr userDrawn="1"/>
        </p:nvSpPr>
        <p:spPr>
          <a:xfrm>
            <a:off x="0" y="6365671"/>
            <a:ext cx="12193270" cy="492759"/>
          </a:xfrm>
          <a:custGeom>
            <a:avLst/>
            <a:gdLst/>
            <a:ahLst/>
            <a:cxnLst/>
            <a:rect l="l" t="t" r="r" b="b"/>
            <a:pathLst>
              <a:path w="12193270" h="492759">
                <a:moveTo>
                  <a:pt x="12193193" y="0"/>
                </a:moveTo>
                <a:lnTo>
                  <a:pt x="12193193" y="492328"/>
                </a:lnTo>
                <a:lnTo>
                  <a:pt x="0" y="492328"/>
                </a:lnTo>
                <a:lnTo>
                  <a:pt x="0" y="0"/>
                </a:lnTo>
                <a:lnTo>
                  <a:pt x="12193193" y="0"/>
                </a:lnTo>
                <a:close/>
              </a:path>
            </a:pathLst>
          </a:custGeom>
          <a:solidFill>
            <a:srgbClr val="0A2C7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Picture 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49337EF-9CF9-FFD9-4A34-7AB8D2BE5F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976" y="6498963"/>
            <a:ext cx="3479800" cy="228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25484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90C146F8-785E-4357-89E6-5E2DAB1904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FA8684E8-EFC5-4377-9100-E2ABBB9E5E7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713554"/>
            <a:ext cx="12192000" cy="324036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861185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75481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878F75C-38C4-446A-B23A-06334235612F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646094" y="1"/>
            <a:ext cx="3901012" cy="164989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C0D4A67-1414-47F5-B5C1-3185747F7D5F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646094" y="5208103"/>
            <a:ext cx="3901012" cy="164989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793745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2884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>
            <a:extLst>
              <a:ext uri="{FF2B5EF4-FFF2-40B4-BE49-F238E27FC236}">
                <a16:creationId xmlns:a16="http://schemas.microsoft.com/office/drawing/2014/main" id="{3AD577DF-DF85-454F-BDBF-23209987934F}"/>
              </a:ext>
            </a:extLst>
          </p:cNvPr>
          <p:cNvGrpSpPr/>
          <p:nvPr userDrawn="1"/>
        </p:nvGrpSpPr>
        <p:grpSpPr>
          <a:xfrm>
            <a:off x="772528" y="2049261"/>
            <a:ext cx="2249349" cy="3954238"/>
            <a:chOff x="4871870" y="1763729"/>
            <a:chExt cx="2448272" cy="4303935"/>
          </a:xfrm>
        </p:grpSpPr>
        <p:grpSp>
          <p:nvGrpSpPr>
            <p:cNvPr id="3" name="Group 3">
              <a:extLst>
                <a:ext uri="{FF2B5EF4-FFF2-40B4-BE49-F238E27FC236}">
                  <a16:creationId xmlns:a16="http://schemas.microsoft.com/office/drawing/2014/main" id="{977273B1-644C-4645-AABB-179031C21461}"/>
                </a:ext>
              </a:extLst>
            </p:cNvPr>
            <p:cNvGrpSpPr/>
            <p:nvPr/>
          </p:nvGrpSpPr>
          <p:grpSpPr>
            <a:xfrm>
              <a:off x="4871870" y="1763729"/>
              <a:ext cx="2448272" cy="4303935"/>
              <a:chOff x="445712" y="1449040"/>
              <a:chExt cx="2113018" cy="3924176"/>
            </a:xfrm>
          </p:grpSpPr>
          <p:sp>
            <p:nvSpPr>
              <p:cNvPr id="5" name="Rounded Rectangle 4">
                <a:extLst>
                  <a:ext uri="{FF2B5EF4-FFF2-40B4-BE49-F238E27FC236}">
                    <a16:creationId xmlns:a16="http://schemas.microsoft.com/office/drawing/2014/main" id="{30E56E3F-48AE-47B3-8C2E-9FD14A7E4A3D}"/>
                  </a:ext>
                </a:extLst>
              </p:cNvPr>
              <p:cNvSpPr/>
              <p:nvPr userDrawn="1"/>
            </p:nvSpPr>
            <p:spPr>
              <a:xfrm>
                <a:off x="445712" y="1449040"/>
                <a:ext cx="2113018" cy="3924176"/>
              </a:xfrm>
              <a:prstGeom prst="roundRect">
                <a:avLst>
                  <a:gd name="adj" fmla="val 13580"/>
                </a:avLst>
              </a:prstGeom>
              <a:solidFill>
                <a:srgbClr val="262626"/>
              </a:solidFill>
              <a:ln w="88900">
                <a:noFill/>
              </a:ln>
              <a:effectLst/>
              <a:scene3d>
                <a:camera prst="perspectiveFront"/>
                <a:lightRig rig="threePt" dir="t"/>
              </a:scene3d>
              <a:sp3d prstMaterial="plastic">
                <a:bevelT w="127000" h="50800"/>
                <a:bevelB w="127000" h="2540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 dirty="0"/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B1915F00-E4FB-4F04-A92B-517AC284A98E}"/>
                  </a:ext>
                </a:extLst>
              </p:cNvPr>
              <p:cNvSpPr/>
              <p:nvPr userDrawn="1"/>
            </p:nvSpPr>
            <p:spPr>
              <a:xfrm>
                <a:off x="1379920" y="1650572"/>
                <a:ext cx="216024" cy="34350"/>
              </a:xfrm>
              <a:prstGeom prst="rect">
                <a:avLst/>
              </a:prstGeom>
              <a:solidFill>
                <a:srgbClr val="B0B0B0"/>
              </a:solidFill>
              <a:ln w="889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903D2C95-E196-4FAC-AD62-42DEA2377A73}"/>
                  </a:ext>
                </a:extLst>
              </p:cNvPr>
              <p:cNvGrpSpPr/>
              <p:nvPr userDrawn="1"/>
            </p:nvGrpSpPr>
            <p:grpSpPr>
              <a:xfrm>
                <a:off x="1407705" y="5045834"/>
                <a:ext cx="211967" cy="211967"/>
                <a:chOff x="1549420" y="5712364"/>
                <a:chExt cx="312583" cy="312583"/>
              </a:xfrm>
            </p:grpSpPr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8974296E-583C-48DF-91A2-8FFA857C7DED}"/>
                    </a:ext>
                  </a:extLst>
                </p:cNvPr>
                <p:cNvSpPr/>
                <p:nvPr userDrawn="1"/>
              </p:nvSpPr>
              <p:spPr>
                <a:xfrm>
                  <a:off x="1549420" y="5712364"/>
                  <a:ext cx="312583" cy="3125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1">
                        <a:lumMod val="94000"/>
                        <a:lumOff val="6000"/>
                      </a:schemeClr>
                    </a:gs>
                    <a:gs pos="56000">
                      <a:schemeClr val="tx1">
                        <a:lumMod val="65000"/>
                        <a:lumOff val="35000"/>
                      </a:schemeClr>
                    </a:gs>
                    <a:gs pos="91000">
                      <a:schemeClr val="tx1">
                        <a:lumMod val="50000"/>
                        <a:lumOff val="50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10800000" scaled="1"/>
                  <a:tileRect/>
                </a:gradFill>
                <a:ln w="0">
                  <a:solidFill>
                    <a:srgbClr val="262626"/>
                  </a:solidFill>
                </a:ln>
                <a:scene3d>
                  <a:camera prst="perspectiveFront"/>
                  <a:lightRig rig="threePt" dir="t"/>
                </a:scene3d>
                <a:sp3d>
                  <a:bevelT w="63500" h="127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800"/>
                </a:p>
              </p:txBody>
            </p:sp>
            <p:sp>
              <p:nvSpPr>
                <p:cNvPr id="9" name="Rounded Rectangle 8">
                  <a:extLst>
                    <a:ext uri="{FF2B5EF4-FFF2-40B4-BE49-F238E27FC236}">
                      <a16:creationId xmlns:a16="http://schemas.microsoft.com/office/drawing/2014/main" id="{024CA893-4AE4-49A1-8B5D-CD95875B6DAC}"/>
                    </a:ext>
                  </a:extLst>
                </p:cNvPr>
                <p:cNvSpPr/>
                <p:nvPr userDrawn="1"/>
              </p:nvSpPr>
              <p:spPr>
                <a:xfrm>
                  <a:off x="1634225" y="5796647"/>
                  <a:ext cx="142969" cy="144016"/>
                </a:xfrm>
                <a:prstGeom prst="roundRect">
                  <a:avLst/>
                </a:prstGeom>
                <a:solidFill>
                  <a:srgbClr val="737373"/>
                </a:solidFill>
                <a:ln w="6350">
                  <a:solidFill>
                    <a:srgbClr val="B0B0B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800"/>
                </a:p>
              </p:txBody>
            </p:sp>
          </p:grpSp>
        </p:grpSp>
        <p:sp>
          <p:nvSpPr>
            <p:cNvPr id="4" name="Picture Placeholder 2">
              <a:extLst>
                <a:ext uri="{FF2B5EF4-FFF2-40B4-BE49-F238E27FC236}">
                  <a16:creationId xmlns:a16="http://schemas.microsoft.com/office/drawing/2014/main" id="{3BB5BB93-F976-4215-A6F1-B0D5EFCEF701}"/>
                </a:ext>
              </a:extLst>
            </p:cNvPr>
            <p:cNvSpPr txBox="1">
              <a:spLocks/>
            </p:cNvSpPr>
            <p:nvPr/>
          </p:nvSpPr>
          <p:spPr>
            <a:xfrm>
              <a:off x="5051890" y="2223507"/>
              <a:ext cx="2088232" cy="33843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anchor="ctr"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Arial" pitchFamily="34" charset="0"/>
                </a:defRPr>
              </a:lvl1pPr>
              <a:lvl2pPr marL="457223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46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69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91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114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337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56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783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ko-KR"/>
                <a:t>Your Picture Here</a:t>
              </a:r>
              <a:endParaRPr lang="ko-KR" altLang="en-US" dirty="0"/>
            </a:p>
          </p:txBody>
        </p:sp>
      </p:grpSp>
      <p:sp>
        <p:nvSpPr>
          <p:cNvPr id="10" name="그림 개체 틀 2">
            <a:extLst>
              <a:ext uri="{FF2B5EF4-FFF2-40B4-BE49-F238E27FC236}">
                <a16:creationId xmlns:a16="http://schemas.microsoft.com/office/drawing/2014/main" id="{3AB80860-A297-4DAD-AAE7-38F186BA670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91176" y="1"/>
            <a:ext cx="6605602" cy="6866390"/>
          </a:xfrm>
          <a:custGeom>
            <a:avLst/>
            <a:gdLst>
              <a:gd name="connsiteX0" fmla="*/ 0 w 4427984"/>
              <a:gd name="connsiteY0" fmla="*/ 0 h 6866389"/>
              <a:gd name="connsiteX1" fmla="*/ 4427984 w 4427984"/>
              <a:gd name="connsiteY1" fmla="*/ 0 h 6866389"/>
              <a:gd name="connsiteX2" fmla="*/ 4427984 w 4427984"/>
              <a:gd name="connsiteY2" fmla="*/ 6866389 h 6866389"/>
              <a:gd name="connsiteX3" fmla="*/ 0 w 4427984"/>
              <a:gd name="connsiteY3" fmla="*/ 6866389 h 6866389"/>
              <a:gd name="connsiteX4" fmla="*/ 0 w 4427984"/>
              <a:gd name="connsiteY4" fmla="*/ 0 h 6866389"/>
              <a:gd name="connsiteX0" fmla="*/ 595618 w 4427984"/>
              <a:gd name="connsiteY0" fmla="*/ 0 h 6883167"/>
              <a:gd name="connsiteX1" fmla="*/ 4427984 w 4427984"/>
              <a:gd name="connsiteY1" fmla="*/ 16778 h 6883167"/>
              <a:gd name="connsiteX2" fmla="*/ 4427984 w 4427984"/>
              <a:gd name="connsiteY2" fmla="*/ 6883167 h 6883167"/>
              <a:gd name="connsiteX3" fmla="*/ 0 w 4427984"/>
              <a:gd name="connsiteY3" fmla="*/ 6883167 h 6883167"/>
              <a:gd name="connsiteX4" fmla="*/ 595618 w 4427984"/>
              <a:gd name="connsiteY4" fmla="*/ 0 h 6883167"/>
              <a:gd name="connsiteX0" fmla="*/ 1258348 w 5090714"/>
              <a:gd name="connsiteY0" fmla="*/ 0 h 6883167"/>
              <a:gd name="connsiteX1" fmla="*/ 5090714 w 5090714"/>
              <a:gd name="connsiteY1" fmla="*/ 16778 h 6883167"/>
              <a:gd name="connsiteX2" fmla="*/ 5090714 w 5090714"/>
              <a:gd name="connsiteY2" fmla="*/ 6883167 h 6883167"/>
              <a:gd name="connsiteX3" fmla="*/ 0 w 5090714"/>
              <a:gd name="connsiteY3" fmla="*/ 6874779 h 6883167"/>
              <a:gd name="connsiteX4" fmla="*/ 1258348 w 5090714"/>
              <a:gd name="connsiteY4" fmla="*/ 0 h 6883167"/>
              <a:gd name="connsiteX0" fmla="*/ 1493240 w 5090714"/>
              <a:gd name="connsiteY0" fmla="*/ 0 h 6883167"/>
              <a:gd name="connsiteX1" fmla="*/ 5090714 w 5090714"/>
              <a:gd name="connsiteY1" fmla="*/ 16778 h 6883167"/>
              <a:gd name="connsiteX2" fmla="*/ 5090714 w 5090714"/>
              <a:gd name="connsiteY2" fmla="*/ 6883167 h 6883167"/>
              <a:gd name="connsiteX3" fmla="*/ 0 w 5090714"/>
              <a:gd name="connsiteY3" fmla="*/ 6874779 h 6883167"/>
              <a:gd name="connsiteX4" fmla="*/ 1493240 w 5090714"/>
              <a:gd name="connsiteY4" fmla="*/ 0 h 6883167"/>
              <a:gd name="connsiteX0" fmla="*/ 1459684 w 5090714"/>
              <a:gd name="connsiteY0" fmla="*/ 0 h 6866389"/>
              <a:gd name="connsiteX1" fmla="*/ 5090714 w 5090714"/>
              <a:gd name="connsiteY1" fmla="*/ 0 h 6866389"/>
              <a:gd name="connsiteX2" fmla="*/ 5090714 w 5090714"/>
              <a:gd name="connsiteY2" fmla="*/ 6866389 h 6866389"/>
              <a:gd name="connsiteX3" fmla="*/ 0 w 5090714"/>
              <a:gd name="connsiteY3" fmla="*/ 6858001 h 6866389"/>
              <a:gd name="connsiteX4" fmla="*/ 1459684 w 5090714"/>
              <a:gd name="connsiteY4" fmla="*/ 0 h 6866389"/>
              <a:gd name="connsiteX0" fmla="*/ 1711354 w 5090714"/>
              <a:gd name="connsiteY0" fmla="*/ 0 h 6874778"/>
              <a:gd name="connsiteX1" fmla="*/ 5090714 w 5090714"/>
              <a:gd name="connsiteY1" fmla="*/ 8389 h 6874778"/>
              <a:gd name="connsiteX2" fmla="*/ 5090714 w 5090714"/>
              <a:gd name="connsiteY2" fmla="*/ 6874778 h 6874778"/>
              <a:gd name="connsiteX3" fmla="*/ 0 w 5090714"/>
              <a:gd name="connsiteY3" fmla="*/ 6866390 h 6874778"/>
              <a:gd name="connsiteX4" fmla="*/ 1711354 w 5090714"/>
              <a:gd name="connsiteY4" fmla="*/ 0 h 6874778"/>
              <a:gd name="connsiteX0" fmla="*/ 1937857 w 5317217"/>
              <a:gd name="connsiteY0" fmla="*/ 0 h 6874779"/>
              <a:gd name="connsiteX1" fmla="*/ 5317217 w 5317217"/>
              <a:gd name="connsiteY1" fmla="*/ 8389 h 6874779"/>
              <a:gd name="connsiteX2" fmla="*/ 5317217 w 5317217"/>
              <a:gd name="connsiteY2" fmla="*/ 6874778 h 6874779"/>
              <a:gd name="connsiteX3" fmla="*/ 0 w 5317217"/>
              <a:gd name="connsiteY3" fmla="*/ 6874779 h 6874779"/>
              <a:gd name="connsiteX4" fmla="*/ 1937857 w 5317217"/>
              <a:gd name="connsiteY4" fmla="*/ 0 h 6874779"/>
              <a:gd name="connsiteX0" fmla="*/ 1280632 w 5317217"/>
              <a:gd name="connsiteY0" fmla="*/ 10661 h 6866390"/>
              <a:gd name="connsiteX1" fmla="*/ 5317217 w 5317217"/>
              <a:gd name="connsiteY1" fmla="*/ 0 h 6866390"/>
              <a:gd name="connsiteX2" fmla="*/ 5317217 w 5317217"/>
              <a:gd name="connsiteY2" fmla="*/ 6866389 h 6866390"/>
              <a:gd name="connsiteX3" fmla="*/ 0 w 5317217"/>
              <a:gd name="connsiteY3" fmla="*/ 6866390 h 6866390"/>
              <a:gd name="connsiteX4" fmla="*/ 1280632 w 5317217"/>
              <a:gd name="connsiteY4" fmla="*/ 10661 h 6866390"/>
              <a:gd name="connsiteX0" fmla="*/ 1280632 w 5317217"/>
              <a:gd name="connsiteY0" fmla="*/ 1136 h 6866390"/>
              <a:gd name="connsiteX1" fmla="*/ 5317217 w 5317217"/>
              <a:gd name="connsiteY1" fmla="*/ 0 h 6866390"/>
              <a:gd name="connsiteX2" fmla="*/ 5317217 w 5317217"/>
              <a:gd name="connsiteY2" fmla="*/ 6866389 h 6866390"/>
              <a:gd name="connsiteX3" fmla="*/ 0 w 5317217"/>
              <a:gd name="connsiteY3" fmla="*/ 6866390 h 6866390"/>
              <a:gd name="connsiteX4" fmla="*/ 1280632 w 5317217"/>
              <a:gd name="connsiteY4" fmla="*/ 1136 h 6866390"/>
              <a:gd name="connsiteX0" fmla="*/ 1413982 w 5450567"/>
              <a:gd name="connsiteY0" fmla="*/ 1136 h 6866390"/>
              <a:gd name="connsiteX1" fmla="*/ 5450567 w 5450567"/>
              <a:gd name="connsiteY1" fmla="*/ 0 h 6866390"/>
              <a:gd name="connsiteX2" fmla="*/ 5450567 w 5450567"/>
              <a:gd name="connsiteY2" fmla="*/ 6866389 h 6866390"/>
              <a:gd name="connsiteX3" fmla="*/ 0 w 5450567"/>
              <a:gd name="connsiteY3" fmla="*/ 6866390 h 6866390"/>
              <a:gd name="connsiteX4" fmla="*/ 1413982 w 5450567"/>
              <a:gd name="connsiteY4" fmla="*/ 1136 h 6866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0567" h="6866390">
                <a:moveTo>
                  <a:pt x="1413982" y="1136"/>
                </a:moveTo>
                <a:lnTo>
                  <a:pt x="5450567" y="0"/>
                </a:lnTo>
                <a:lnTo>
                  <a:pt x="5450567" y="6866389"/>
                </a:lnTo>
                <a:lnTo>
                  <a:pt x="0" y="6866390"/>
                </a:lnTo>
                <a:lnTo>
                  <a:pt x="1413982" y="113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  <p:sp>
        <p:nvSpPr>
          <p:cNvPr id="11" name="그림 개체 틀 2">
            <a:extLst>
              <a:ext uri="{FF2B5EF4-FFF2-40B4-BE49-F238E27FC236}">
                <a16:creationId xmlns:a16="http://schemas.microsoft.com/office/drawing/2014/main" id="{5F01346D-41B4-4635-A65B-D14C19699D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42863" y="2412995"/>
            <a:ext cx="1918562" cy="31856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403467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82557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id="{4CF88C7B-B8EA-43A6-8678-AF268289A1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24036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539817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74723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77656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62F874-5D6E-2B78-1E19-2857DBF5A3FF}"/>
              </a:ext>
            </a:extLst>
          </p:cNvPr>
          <p:cNvSpPr/>
          <p:nvPr userDrawn="1"/>
        </p:nvSpPr>
        <p:spPr>
          <a:xfrm>
            <a:off x="0" y="1430767"/>
            <a:ext cx="12192000" cy="4808668"/>
          </a:xfrm>
          <a:prstGeom prst="rect">
            <a:avLst/>
          </a:prstGeom>
          <a:solidFill>
            <a:srgbClr val="E3E9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bg object 16">
            <a:extLst>
              <a:ext uri="{FF2B5EF4-FFF2-40B4-BE49-F238E27FC236}">
                <a16:creationId xmlns:a16="http://schemas.microsoft.com/office/drawing/2014/main" id="{0CD161AE-77B6-FCBA-608D-A5B47B91234E}"/>
              </a:ext>
            </a:extLst>
          </p:cNvPr>
          <p:cNvPicPr/>
          <p:nvPr userDrawn="1"/>
        </p:nvPicPr>
        <p:blipFill rotWithShape="1">
          <a:blip r:embed="rId2" cstate="print"/>
          <a:srcRect b="17417"/>
          <a:stretch/>
        </p:blipFill>
        <p:spPr>
          <a:xfrm>
            <a:off x="7800428" y="0"/>
            <a:ext cx="4392764" cy="3087445"/>
          </a:xfrm>
          <a:prstGeom prst="rect">
            <a:avLst/>
          </a:prstGeom>
        </p:spPr>
      </p:pic>
      <p:sp>
        <p:nvSpPr>
          <p:cNvPr id="5" name="bg object 17">
            <a:extLst>
              <a:ext uri="{FF2B5EF4-FFF2-40B4-BE49-F238E27FC236}">
                <a16:creationId xmlns:a16="http://schemas.microsoft.com/office/drawing/2014/main" id="{CA1CC6AF-F5E4-BAAB-4D98-4EFF90B40037}"/>
              </a:ext>
            </a:extLst>
          </p:cNvPr>
          <p:cNvSpPr/>
          <p:nvPr userDrawn="1"/>
        </p:nvSpPr>
        <p:spPr>
          <a:xfrm>
            <a:off x="0" y="6365671"/>
            <a:ext cx="12193270" cy="492759"/>
          </a:xfrm>
          <a:custGeom>
            <a:avLst/>
            <a:gdLst/>
            <a:ahLst/>
            <a:cxnLst/>
            <a:rect l="l" t="t" r="r" b="b"/>
            <a:pathLst>
              <a:path w="12193270" h="492759">
                <a:moveTo>
                  <a:pt x="12193193" y="0"/>
                </a:moveTo>
                <a:lnTo>
                  <a:pt x="12193193" y="492328"/>
                </a:lnTo>
                <a:lnTo>
                  <a:pt x="0" y="492328"/>
                </a:lnTo>
                <a:lnTo>
                  <a:pt x="0" y="0"/>
                </a:lnTo>
                <a:lnTo>
                  <a:pt x="12193193" y="0"/>
                </a:lnTo>
                <a:close/>
              </a:path>
            </a:pathLst>
          </a:custGeom>
          <a:solidFill>
            <a:srgbClr val="0A2C7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Picture 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96DE3166-BC29-746F-15DF-ECE8B2EEF9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976" y="6498963"/>
            <a:ext cx="34798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664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248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28653142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39067551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3B00D52-2748-765D-2C1E-D6DEA7AAD4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823" y="6244622"/>
            <a:ext cx="2455448" cy="5158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C14C040-F5B4-DFA9-2A8D-7EA48FDB05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4047" y="6071860"/>
            <a:ext cx="720088" cy="797341"/>
          </a:xfrm>
          <a:prstGeom prst="rect">
            <a:avLst/>
          </a:prstGeom>
        </p:spPr>
      </p:pic>
      <p:pic>
        <p:nvPicPr>
          <p:cNvPr id="7" name="Picture 6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9CFCF77F-49DC-F7B3-6C34-E366F1C3C5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15" r="12714" b="17025"/>
          <a:stretch/>
        </p:blipFill>
        <p:spPr>
          <a:xfrm>
            <a:off x="11464649" y="411521"/>
            <a:ext cx="478971" cy="536647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2C1DA77-2864-7B93-8F53-1C1F6919EA75}"/>
              </a:ext>
            </a:extLst>
          </p:cNvPr>
          <p:cNvSpPr/>
          <p:nvPr userDrawn="1"/>
        </p:nvSpPr>
        <p:spPr>
          <a:xfrm rot="5400000">
            <a:off x="-531225" y="513805"/>
            <a:ext cx="1619798" cy="557349"/>
          </a:xfrm>
          <a:prstGeom prst="triangle">
            <a:avLst>
              <a:gd name="adj" fmla="val 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F0E49070-2C70-834B-57D9-76072E840E8E}"/>
              </a:ext>
            </a:extLst>
          </p:cNvPr>
          <p:cNvSpPr/>
          <p:nvPr userDrawn="1"/>
        </p:nvSpPr>
        <p:spPr>
          <a:xfrm rot="16200000">
            <a:off x="11338467" y="6021884"/>
            <a:ext cx="1223555" cy="483511"/>
          </a:xfrm>
          <a:prstGeom prst="triangle">
            <a:avLst>
              <a:gd name="adj" fmla="val 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731936-4E84-1F36-027D-EDFC49261B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06488" y="601663"/>
            <a:ext cx="3290887" cy="2411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1086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697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67138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2418022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287254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lum bright="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76240"/>
            <a:ext cx="12192000" cy="138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1668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genda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9415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92" r:id="rId10"/>
    <p:sldLayoutId id="2147483705" r:id="rId11"/>
    <p:sldLayoutId id="2147483706" r:id="rId12"/>
    <p:sldLayoutId id="2147483707" r:id="rId13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7021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image" Target="../media/image26.png"/><Relationship Id="rId5" Type="http://schemas.openxmlformats.org/officeDocument/2006/relationships/tags" Target="../tags/tag25.xml"/><Relationship Id="rId10" Type="http://schemas.openxmlformats.org/officeDocument/2006/relationships/image" Target="../media/image25.png"/><Relationship Id="rId4" Type="http://schemas.openxmlformats.org/officeDocument/2006/relationships/tags" Target="../tags/tag24.xml"/><Relationship Id="rId9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3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6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5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28.png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4" Type="http://schemas.openxmlformats.org/officeDocument/2006/relationships/image" Target="../media/image29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jp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hyperlink" Target="https://freesvg.org/thank-you-decoration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5" Type="http://schemas.openxmlformats.org/officeDocument/2006/relationships/image" Target="../media/image35.jpeg"/><Relationship Id="rId4" Type="http://schemas.openxmlformats.org/officeDocument/2006/relationships/image" Target="../media/image3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18.pn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2">
            <a:extLst>
              <a:ext uri="{FF2B5EF4-FFF2-40B4-BE49-F238E27FC236}">
                <a16:creationId xmlns:a16="http://schemas.microsoft.com/office/drawing/2014/main" id="{9C95EF29-6680-9A45-AD33-FB551B67F91A}"/>
              </a:ext>
            </a:extLst>
          </p:cNvPr>
          <p:cNvSpPr txBox="1">
            <a:spLocks/>
          </p:cNvSpPr>
          <p:nvPr/>
        </p:nvSpPr>
        <p:spPr>
          <a:xfrm>
            <a:off x="468933" y="1972225"/>
            <a:ext cx="5182231" cy="636649"/>
          </a:xfrm>
          <a:prstGeom prst="rect">
            <a:avLst/>
          </a:prstGeom>
        </p:spPr>
        <p:txBody>
          <a:bodyPr vert="horz" wrap="square" lIns="0" tIns="9779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4510"/>
              </a:lnSpc>
              <a:spcBef>
                <a:spcPts val="770"/>
              </a:spcBef>
            </a:pPr>
            <a:r>
              <a:rPr lang="en-ZA" sz="3600" b="1" kern="0" spc="-65" dirty="0">
                <a:solidFill>
                  <a:schemeClr val="bg1"/>
                </a:solidFill>
                <a:latin typeface="HelveticaNeueLT Std Blk Cn" panose="020B0604020202020204" pitchFamily="34" charset="77"/>
              </a:rPr>
              <a:t>D</a:t>
            </a:r>
            <a:r>
              <a:rPr lang="en-ZA" sz="3600" b="1" kern="0" spc="10" dirty="0">
                <a:solidFill>
                  <a:schemeClr val="bg1"/>
                </a:solidFill>
                <a:latin typeface="HelveticaNeueLT Std Blk Cn" panose="020B0604020202020204" pitchFamily="34" charset="77"/>
              </a:rPr>
              <a:t>ANGEROUS  </a:t>
            </a:r>
            <a:r>
              <a:rPr lang="en-ZA" sz="3600" b="1" kern="0" spc="15" dirty="0">
                <a:solidFill>
                  <a:schemeClr val="bg1"/>
                </a:solidFill>
                <a:latin typeface="HelveticaNeueLT Std Blk Cn" panose="020B0604020202020204" pitchFamily="34" charset="77"/>
              </a:rPr>
              <a:t>GOODS</a:t>
            </a:r>
          </a:p>
        </p:txBody>
      </p:sp>
      <p:sp>
        <p:nvSpPr>
          <p:cNvPr id="26" name="object 3">
            <a:extLst>
              <a:ext uri="{FF2B5EF4-FFF2-40B4-BE49-F238E27FC236}">
                <a16:creationId xmlns:a16="http://schemas.microsoft.com/office/drawing/2014/main" id="{D5059745-7F20-2344-B512-B804F55CC9BF}"/>
              </a:ext>
            </a:extLst>
          </p:cNvPr>
          <p:cNvSpPr txBox="1"/>
          <p:nvPr/>
        </p:nvSpPr>
        <p:spPr>
          <a:xfrm>
            <a:off x="476431" y="3145760"/>
            <a:ext cx="6130846" cy="8074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1499"/>
              </a:lnSpc>
              <a:spcBef>
                <a:spcPts val="90"/>
              </a:spcBef>
            </a:pPr>
            <a:endParaRPr lang="en-GB" sz="2600" b="1" spc="-30" dirty="0">
              <a:solidFill>
                <a:srgbClr val="C3AD86"/>
              </a:solidFill>
              <a:latin typeface="HelveticaNeueLTStd-HvCn"/>
              <a:cs typeface="HelveticaNeueLTStd-HvCn"/>
            </a:endParaRPr>
          </a:p>
          <a:p>
            <a:pPr marL="12700" marR="5080">
              <a:lnSpc>
                <a:spcPct val="101499"/>
              </a:lnSpc>
              <a:spcBef>
                <a:spcPts val="90"/>
              </a:spcBef>
            </a:pPr>
            <a:endParaRPr lang="en-GB" sz="2600" b="1" spc="-30" dirty="0">
              <a:solidFill>
                <a:srgbClr val="C3AD86"/>
              </a:solidFill>
              <a:latin typeface="HelveticaNeueLTStd-HvCn"/>
              <a:cs typeface="Arial"/>
            </a:endParaRP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A3A6E2F4-9178-D311-B518-B6C6C5F3DE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9096" y="4487213"/>
            <a:ext cx="3750344" cy="120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20">
            <a:extLst>
              <a:ext uri="{FF2B5EF4-FFF2-40B4-BE49-F238E27FC236}">
                <a16:creationId xmlns:a16="http://schemas.microsoft.com/office/drawing/2014/main" id="{6F5D57DE-7E26-B6B6-0131-551E822D98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0683" y="4004853"/>
            <a:ext cx="5364163" cy="83099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ZA" altLang="en-US" sz="16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 Dangerous Goods Inspector</a:t>
            </a:r>
          </a:p>
          <a:p>
            <a:pPr>
              <a:defRPr/>
            </a:pPr>
            <a:r>
              <a:rPr lang="en-ZA" altLang="en-US" sz="16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 Mr. David Khumalo</a:t>
            </a:r>
            <a:endParaRPr lang="en-ZA" altLang="en-US" sz="1600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  <a:p>
            <a:pPr eaLnBrk="1" hangingPunct="1">
              <a:defRPr/>
            </a:pPr>
            <a:endParaRPr lang="en-US" altLang="en-US" sz="16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4" name="object 4">
            <a:extLst>
              <a:ext uri="{FF2B5EF4-FFF2-40B4-BE49-F238E27FC236}">
                <a16:creationId xmlns:a16="http://schemas.microsoft.com/office/drawing/2014/main" id="{4700AE2B-E276-E1A1-292D-34E7B26142FC}"/>
              </a:ext>
            </a:extLst>
          </p:cNvPr>
          <p:cNvGrpSpPr>
            <a:grpSpLocks/>
          </p:cNvGrpSpPr>
          <p:nvPr/>
        </p:nvGrpSpPr>
        <p:grpSpPr bwMode="auto">
          <a:xfrm>
            <a:off x="5130442" y="2662186"/>
            <a:ext cx="1882776" cy="1882775"/>
            <a:chOff x="4587666" y="1383770"/>
            <a:chExt cx="1883410" cy="1883410"/>
          </a:xfrm>
        </p:grpSpPr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75239317-8D64-DFF0-2CCB-4B3DE58DC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7666" y="1383770"/>
              <a:ext cx="1883410" cy="1883410"/>
            </a:xfrm>
            <a:custGeom>
              <a:avLst/>
              <a:gdLst>
                <a:gd name="T0" fmla="*/ 845318 w 1883410"/>
                <a:gd name="T1" fmla="*/ 4861 h 1883410"/>
                <a:gd name="T2" fmla="*/ 706272 w 1883410"/>
                <a:gd name="T3" fmla="*/ 29644 h 1883410"/>
                <a:gd name="T4" fmla="*/ 575080 w 1883410"/>
                <a:gd name="T5" fmla="*/ 73996 h 1883410"/>
                <a:gd name="T6" fmla="*/ 453341 w 1883410"/>
                <a:gd name="T7" fmla="*/ 136320 h 1883410"/>
                <a:gd name="T8" fmla="*/ 342651 w 1883410"/>
                <a:gd name="T9" fmla="*/ 215018 h 1883410"/>
                <a:gd name="T10" fmla="*/ 244607 w 1883410"/>
                <a:gd name="T11" fmla="*/ 308493 h 1883410"/>
                <a:gd name="T12" fmla="*/ 160808 w 1883410"/>
                <a:gd name="T13" fmla="*/ 415146 h 1883410"/>
                <a:gd name="T14" fmla="*/ 92850 w 1883410"/>
                <a:gd name="T15" fmla="*/ 533382 h 1883410"/>
                <a:gd name="T16" fmla="*/ 42331 w 1883410"/>
                <a:gd name="T17" fmla="*/ 661601 h 1883410"/>
                <a:gd name="T18" fmla="*/ 10849 w 1883410"/>
                <a:gd name="T19" fmla="*/ 798207 h 1883410"/>
                <a:gd name="T20" fmla="*/ 0 w 1883410"/>
                <a:gd name="T21" fmla="*/ 941603 h 1883410"/>
                <a:gd name="T22" fmla="*/ 10849 w 1883410"/>
                <a:gd name="T23" fmla="*/ 1084998 h 1883410"/>
                <a:gd name="T24" fmla="*/ 42331 w 1883410"/>
                <a:gd name="T25" fmla="*/ 1221603 h 1883410"/>
                <a:gd name="T26" fmla="*/ 92850 w 1883410"/>
                <a:gd name="T27" fmla="*/ 1349822 h 1883410"/>
                <a:gd name="T28" fmla="*/ 160808 w 1883410"/>
                <a:gd name="T29" fmla="*/ 1468056 h 1883410"/>
                <a:gd name="T30" fmla="*/ 244607 w 1883410"/>
                <a:gd name="T31" fmla="*/ 1574708 h 1883410"/>
                <a:gd name="T32" fmla="*/ 342651 w 1883410"/>
                <a:gd name="T33" fmla="*/ 1668180 h 1883410"/>
                <a:gd name="T34" fmla="*/ 453341 w 1883410"/>
                <a:gd name="T35" fmla="*/ 1746877 h 1883410"/>
                <a:gd name="T36" fmla="*/ 575080 w 1883410"/>
                <a:gd name="T37" fmla="*/ 1809199 h 1883410"/>
                <a:gd name="T38" fmla="*/ 706272 w 1883410"/>
                <a:gd name="T39" fmla="*/ 1853550 h 1883410"/>
                <a:gd name="T40" fmla="*/ 845318 w 1883410"/>
                <a:gd name="T41" fmla="*/ 1878332 h 1883410"/>
                <a:gd name="T42" fmla="*/ 990044 w 1883410"/>
                <a:gd name="T43" fmla="*/ 1881968 h 1883410"/>
                <a:gd name="T44" fmla="*/ 1131354 w 1883410"/>
                <a:gd name="T45" fmla="*/ 1864064 h 1883410"/>
                <a:gd name="T46" fmla="*/ 1265341 w 1883410"/>
                <a:gd name="T47" fmla="*/ 1826058 h 1883410"/>
                <a:gd name="T48" fmla="*/ 1390409 w 1883410"/>
                <a:gd name="T49" fmla="*/ 1769549 h 1883410"/>
                <a:gd name="T50" fmla="*/ 1504959 w 1883410"/>
                <a:gd name="T51" fmla="*/ 1696133 h 1883410"/>
                <a:gd name="T52" fmla="*/ 1607396 w 1883410"/>
                <a:gd name="T53" fmla="*/ 1607408 h 1883410"/>
                <a:gd name="T54" fmla="*/ 1696120 w 1883410"/>
                <a:gd name="T55" fmla="*/ 1504972 h 1883410"/>
                <a:gd name="T56" fmla="*/ 1769536 w 1883410"/>
                <a:gd name="T57" fmla="*/ 1390421 h 1883410"/>
                <a:gd name="T58" fmla="*/ 1826046 w 1883410"/>
                <a:gd name="T59" fmla="*/ 1265354 h 1883410"/>
                <a:gd name="T60" fmla="*/ 1864051 w 1883410"/>
                <a:gd name="T61" fmla="*/ 1131366 h 1883410"/>
                <a:gd name="T62" fmla="*/ 1881956 w 1883410"/>
                <a:gd name="T63" fmla="*/ 990057 h 1883410"/>
                <a:gd name="T64" fmla="*/ 1878320 w 1883410"/>
                <a:gd name="T65" fmla="*/ 845330 h 1883410"/>
                <a:gd name="T66" fmla="*/ 1853537 w 1883410"/>
                <a:gd name="T67" fmla="*/ 706284 h 1883410"/>
                <a:gd name="T68" fmla="*/ 1809186 w 1883410"/>
                <a:gd name="T69" fmla="*/ 575091 h 1883410"/>
                <a:gd name="T70" fmla="*/ 1746864 w 1883410"/>
                <a:gd name="T71" fmla="*/ 453350 h 1883410"/>
                <a:gd name="T72" fmla="*/ 1668168 w 1883410"/>
                <a:gd name="T73" fmla="*/ 342658 h 1883410"/>
                <a:gd name="T74" fmla="*/ 1574695 w 1883410"/>
                <a:gd name="T75" fmla="*/ 244613 h 1883410"/>
                <a:gd name="T76" fmla="*/ 1468043 w 1883410"/>
                <a:gd name="T77" fmla="*/ 160812 h 1883410"/>
                <a:gd name="T78" fmla="*/ 1349809 w 1883410"/>
                <a:gd name="T79" fmla="*/ 92853 h 1883410"/>
                <a:gd name="T80" fmla="*/ 1221591 w 1883410"/>
                <a:gd name="T81" fmla="*/ 42333 h 1883410"/>
                <a:gd name="T82" fmla="*/ 1084985 w 1883410"/>
                <a:gd name="T83" fmla="*/ 10849 h 1883410"/>
                <a:gd name="T84" fmla="*/ 941590 w 1883410"/>
                <a:gd name="T85" fmla="*/ 0 h 188341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883410" h="1883410">
                  <a:moveTo>
                    <a:pt x="941590" y="0"/>
                  </a:moveTo>
                  <a:lnTo>
                    <a:pt x="893136" y="1225"/>
                  </a:lnTo>
                  <a:lnTo>
                    <a:pt x="845318" y="4861"/>
                  </a:lnTo>
                  <a:lnTo>
                    <a:pt x="798195" y="10849"/>
                  </a:lnTo>
                  <a:lnTo>
                    <a:pt x="751827" y="19130"/>
                  </a:lnTo>
                  <a:lnTo>
                    <a:pt x="706272" y="29644"/>
                  </a:lnTo>
                  <a:lnTo>
                    <a:pt x="661590" y="42333"/>
                  </a:lnTo>
                  <a:lnTo>
                    <a:pt x="617839" y="57136"/>
                  </a:lnTo>
                  <a:lnTo>
                    <a:pt x="575080" y="73996"/>
                  </a:lnTo>
                  <a:lnTo>
                    <a:pt x="533371" y="92853"/>
                  </a:lnTo>
                  <a:lnTo>
                    <a:pt x="492772" y="113647"/>
                  </a:lnTo>
                  <a:lnTo>
                    <a:pt x="453341" y="136320"/>
                  </a:lnTo>
                  <a:lnTo>
                    <a:pt x="415138" y="160812"/>
                  </a:lnTo>
                  <a:lnTo>
                    <a:pt x="378221" y="187065"/>
                  </a:lnTo>
                  <a:lnTo>
                    <a:pt x="342651" y="215018"/>
                  </a:lnTo>
                  <a:lnTo>
                    <a:pt x="308486" y="244613"/>
                  </a:lnTo>
                  <a:lnTo>
                    <a:pt x="275785" y="275791"/>
                  </a:lnTo>
                  <a:lnTo>
                    <a:pt x="244607" y="308493"/>
                  </a:lnTo>
                  <a:lnTo>
                    <a:pt x="215013" y="342658"/>
                  </a:lnTo>
                  <a:lnTo>
                    <a:pt x="187060" y="378229"/>
                  </a:lnTo>
                  <a:lnTo>
                    <a:pt x="160808" y="415146"/>
                  </a:lnTo>
                  <a:lnTo>
                    <a:pt x="136317" y="453350"/>
                  </a:lnTo>
                  <a:lnTo>
                    <a:pt x="113644" y="492782"/>
                  </a:lnTo>
                  <a:lnTo>
                    <a:pt x="92850" y="533382"/>
                  </a:lnTo>
                  <a:lnTo>
                    <a:pt x="73994" y="575091"/>
                  </a:lnTo>
                  <a:lnTo>
                    <a:pt x="57135" y="617851"/>
                  </a:lnTo>
                  <a:lnTo>
                    <a:pt x="42331" y="661601"/>
                  </a:lnTo>
                  <a:lnTo>
                    <a:pt x="29643" y="706284"/>
                  </a:lnTo>
                  <a:lnTo>
                    <a:pt x="19129" y="751839"/>
                  </a:lnTo>
                  <a:lnTo>
                    <a:pt x="10849" y="798207"/>
                  </a:lnTo>
                  <a:lnTo>
                    <a:pt x="4861" y="845330"/>
                  </a:lnTo>
                  <a:lnTo>
                    <a:pt x="1225" y="893149"/>
                  </a:lnTo>
                  <a:lnTo>
                    <a:pt x="0" y="941603"/>
                  </a:lnTo>
                  <a:lnTo>
                    <a:pt x="1225" y="990057"/>
                  </a:lnTo>
                  <a:lnTo>
                    <a:pt x="4861" y="1037875"/>
                  </a:lnTo>
                  <a:lnTo>
                    <a:pt x="10849" y="1084998"/>
                  </a:lnTo>
                  <a:lnTo>
                    <a:pt x="19129" y="1131366"/>
                  </a:lnTo>
                  <a:lnTo>
                    <a:pt x="29643" y="1176921"/>
                  </a:lnTo>
                  <a:lnTo>
                    <a:pt x="42331" y="1221603"/>
                  </a:lnTo>
                  <a:lnTo>
                    <a:pt x="57135" y="1265354"/>
                  </a:lnTo>
                  <a:lnTo>
                    <a:pt x="73994" y="1308113"/>
                  </a:lnTo>
                  <a:lnTo>
                    <a:pt x="92850" y="1349822"/>
                  </a:lnTo>
                  <a:lnTo>
                    <a:pt x="113644" y="1390421"/>
                  </a:lnTo>
                  <a:lnTo>
                    <a:pt x="136317" y="1429852"/>
                  </a:lnTo>
                  <a:lnTo>
                    <a:pt x="160808" y="1468056"/>
                  </a:lnTo>
                  <a:lnTo>
                    <a:pt x="187060" y="1504972"/>
                  </a:lnTo>
                  <a:lnTo>
                    <a:pt x="215013" y="1540542"/>
                  </a:lnTo>
                  <a:lnTo>
                    <a:pt x="244607" y="1574708"/>
                  </a:lnTo>
                  <a:lnTo>
                    <a:pt x="275785" y="1607408"/>
                  </a:lnTo>
                  <a:lnTo>
                    <a:pt x="308486" y="1638586"/>
                  </a:lnTo>
                  <a:lnTo>
                    <a:pt x="342651" y="1668180"/>
                  </a:lnTo>
                  <a:lnTo>
                    <a:pt x="378221" y="1696133"/>
                  </a:lnTo>
                  <a:lnTo>
                    <a:pt x="415138" y="1722385"/>
                  </a:lnTo>
                  <a:lnTo>
                    <a:pt x="453341" y="1746877"/>
                  </a:lnTo>
                  <a:lnTo>
                    <a:pt x="492772" y="1769549"/>
                  </a:lnTo>
                  <a:lnTo>
                    <a:pt x="533371" y="1790343"/>
                  </a:lnTo>
                  <a:lnTo>
                    <a:pt x="575080" y="1809199"/>
                  </a:lnTo>
                  <a:lnTo>
                    <a:pt x="617839" y="1826058"/>
                  </a:lnTo>
                  <a:lnTo>
                    <a:pt x="661590" y="1840862"/>
                  </a:lnTo>
                  <a:lnTo>
                    <a:pt x="706272" y="1853550"/>
                  </a:lnTo>
                  <a:lnTo>
                    <a:pt x="751827" y="1864064"/>
                  </a:lnTo>
                  <a:lnTo>
                    <a:pt x="798195" y="1872344"/>
                  </a:lnTo>
                  <a:lnTo>
                    <a:pt x="845318" y="1878332"/>
                  </a:lnTo>
                  <a:lnTo>
                    <a:pt x="893136" y="1881968"/>
                  </a:lnTo>
                  <a:lnTo>
                    <a:pt x="941590" y="1883194"/>
                  </a:lnTo>
                  <a:lnTo>
                    <a:pt x="990044" y="1881968"/>
                  </a:lnTo>
                  <a:lnTo>
                    <a:pt x="1037862" y="1878332"/>
                  </a:lnTo>
                  <a:lnTo>
                    <a:pt x="1084985" y="1872344"/>
                  </a:lnTo>
                  <a:lnTo>
                    <a:pt x="1131354" y="1864064"/>
                  </a:lnTo>
                  <a:lnTo>
                    <a:pt x="1176909" y="1853550"/>
                  </a:lnTo>
                  <a:lnTo>
                    <a:pt x="1221591" y="1840862"/>
                  </a:lnTo>
                  <a:lnTo>
                    <a:pt x="1265341" y="1826058"/>
                  </a:lnTo>
                  <a:lnTo>
                    <a:pt x="1308100" y="1809199"/>
                  </a:lnTo>
                  <a:lnTo>
                    <a:pt x="1349809" y="1790343"/>
                  </a:lnTo>
                  <a:lnTo>
                    <a:pt x="1390409" y="1769549"/>
                  </a:lnTo>
                  <a:lnTo>
                    <a:pt x="1429840" y="1746877"/>
                  </a:lnTo>
                  <a:lnTo>
                    <a:pt x="1468043" y="1722385"/>
                  </a:lnTo>
                  <a:lnTo>
                    <a:pt x="1504959" y="1696133"/>
                  </a:lnTo>
                  <a:lnTo>
                    <a:pt x="1540530" y="1668180"/>
                  </a:lnTo>
                  <a:lnTo>
                    <a:pt x="1574695" y="1638586"/>
                  </a:lnTo>
                  <a:lnTo>
                    <a:pt x="1607396" y="1607408"/>
                  </a:lnTo>
                  <a:lnTo>
                    <a:pt x="1638573" y="1574708"/>
                  </a:lnTo>
                  <a:lnTo>
                    <a:pt x="1668168" y="1540542"/>
                  </a:lnTo>
                  <a:lnTo>
                    <a:pt x="1696120" y="1504972"/>
                  </a:lnTo>
                  <a:lnTo>
                    <a:pt x="1722372" y="1468056"/>
                  </a:lnTo>
                  <a:lnTo>
                    <a:pt x="1746864" y="1429852"/>
                  </a:lnTo>
                  <a:lnTo>
                    <a:pt x="1769536" y="1390421"/>
                  </a:lnTo>
                  <a:lnTo>
                    <a:pt x="1790330" y="1349822"/>
                  </a:lnTo>
                  <a:lnTo>
                    <a:pt x="1809186" y="1308113"/>
                  </a:lnTo>
                  <a:lnTo>
                    <a:pt x="1826046" y="1265354"/>
                  </a:lnTo>
                  <a:lnTo>
                    <a:pt x="1840849" y="1221603"/>
                  </a:lnTo>
                  <a:lnTo>
                    <a:pt x="1853537" y="1176921"/>
                  </a:lnTo>
                  <a:lnTo>
                    <a:pt x="1864051" y="1131366"/>
                  </a:lnTo>
                  <a:lnTo>
                    <a:pt x="1872332" y="1084998"/>
                  </a:lnTo>
                  <a:lnTo>
                    <a:pt x="1878320" y="1037875"/>
                  </a:lnTo>
                  <a:lnTo>
                    <a:pt x="1881956" y="990057"/>
                  </a:lnTo>
                  <a:lnTo>
                    <a:pt x="1883181" y="941603"/>
                  </a:lnTo>
                  <a:lnTo>
                    <a:pt x="1881956" y="893149"/>
                  </a:lnTo>
                  <a:lnTo>
                    <a:pt x="1878320" y="845330"/>
                  </a:lnTo>
                  <a:lnTo>
                    <a:pt x="1872332" y="798207"/>
                  </a:lnTo>
                  <a:lnTo>
                    <a:pt x="1864051" y="751839"/>
                  </a:lnTo>
                  <a:lnTo>
                    <a:pt x="1853537" y="706284"/>
                  </a:lnTo>
                  <a:lnTo>
                    <a:pt x="1840849" y="661601"/>
                  </a:lnTo>
                  <a:lnTo>
                    <a:pt x="1826046" y="617851"/>
                  </a:lnTo>
                  <a:lnTo>
                    <a:pt x="1809186" y="575091"/>
                  </a:lnTo>
                  <a:lnTo>
                    <a:pt x="1790330" y="533382"/>
                  </a:lnTo>
                  <a:lnTo>
                    <a:pt x="1769536" y="492782"/>
                  </a:lnTo>
                  <a:lnTo>
                    <a:pt x="1746864" y="453350"/>
                  </a:lnTo>
                  <a:lnTo>
                    <a:pt x="1722372" y="415146"/>
                  </a:lnTo>
                  <a:lnTo>
                    <a:pt x="1696120" y="378229"/>
                  </a:lnTo>
                  <a:lnTo>
                    <a:pt x="1668168" y="342658"/>
                  </a:lnTo>
                  <a:lnTo>
                    <a:pt x="1638573" y="308493"/>
                  </a:lnTo>
                  <a:lnTo>
                    <a:pt x="1607396" y="275791"/>
                  </a:lnTo>
                  <a:lnTo>
                    <a:pt x="1574695" y="244613"/>
                  </a:lnTo>
                  <a:lnTo>
                    <a:pt x="1540530" y="215018"/>
                  </a:lnTo>
                  <a:lnTo>
                    <a:pt x="1504959" y="187065"/>
                  </a:lnTo>
                  <a:lnTo>
                    <a:pt x="1468043" y="160812"/>
                  </a:lnTo>
                  <a:lnTo>
                    <a:pt x="1429840" y="136320"/>
                  </a:lnTo>
                  <a:lnTo>
                    <a:pt x="1390409" y="113647"/>
                  </a:lnTo>
                  <a:lnTo>
                    <a:pt x="1349809" y="92853"/>
                  </a:lnTo>
                  <a:lnTo>
                    <a:pt x="1308100" y="73996"/>
                  </a:lnTo>
                  <a:lnTo>
                    <a:pt x="1265341" y="57136"/>
                  </a:lnTo>
                  <a:lnTo>
                    <a:pt x="1221591" y="42333"/>
                  </a:lnTo>
                  <a:lnTo>
                    <a:pt x="1176909" y="29644"/>
                  </a:lnTo>
                  <a:lnTo>
                    <a:pt x="1131354" y="19130"/>
                  </a:lnTo>
                  <a:lnTo>
                    <a:pt x="1084985" y="10849"/>
                  </a:lnTo>
                  <a:lnTo>
                    <a:pt x="1037862" y="4861"/>
                  </a:lnTo>
                  <a:lnTo>
                    <a:pt x="990044" y="1225"/>
                  </a:lnTo>
                  <a:lnTo>
                    <a:pt x="9415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ZA"/>
            </a:p>
          </p:txBody>
        </p:sp>
        <p:sp>
          <p:nvSpPr>
            <p:cNvPr id="6" name="object 6">
              <a:extLst>
                <a:ext uri="{FF2B5EF4-FFF2-40B4-BE49-F238E27FC236}">
                  <a16:creationId xmlns:a16="http://schemas.microsoft.com/office/drawing/2014/main" id="{73419CD7-401D-EC83-5AF4-1D9884F1C0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854" y="1463957"/>
              <a:ext cx="1723389" cy="1723389"/>
            </a:xfrm>
            <a:custGeom>
              <a:avLst/>
              <a:gdLst>
                <a:gd name="T0" fmla="*/ 812521 w 1723389"/>
                <a:gd name="T1" fmla="*/ 1363 h 1723389"/>
                <a:gd name="T2" fmla="*/ 716978 w 1723389"/>
                <a:gd name="T3" fmla="*/ 12054 h 1723389"/>
                <a:gd name="T4" fmla="*/ 624877 w 1723389"/>
                <a:gd name="T5" fmla="*/ 32879 h 1723389"/>
                <a:gd name="T6" fmla="*/ 536802 w 1723389"/>
                <a:gd name="T7" fmla="*/ 63255 h 1723389"/>
                <a:gd name="T8" fmla="*/ 453333 w 1723389"/>
                <a:gd name="T9" fmla="*/ 102601 h 1723389"/>
                <a:gd name="T10" fmla="*/ 375053 w 1723389"/>
                <a:gd name="T11" fmla="*/ 150335 h 1723389"/>
                <a:gd name="T12" fmla="*/ 302543 w 1723389"/>
                <a:gd name="T13" fmla="*/ 205876 h 1723389"/>
                <a:gd name="T14" fmla="*/ 236386 w 1723389"/>
                <a:gd name="T15" fmla="*/ 268641 h 1723389"/>
                <a:gd name="T16" fmla="*/ 177161 w 1723389"/>
                <a:gd name="T17" fmla="*/ 338049 h 1723389"/>
                <a:gd name="T18" fmla="*/ 125452 w 1723389"/>
                <a:gd name="T19" fmla="*/ 413518 h 1723389"/>
                <a:gd name="T20" fmla="*/ 81841 w 1723389"/>
                <a:gd name="T21" fmla="*/ 494466 h 1723389"/>
                <a:gd name="T22" fmla="*/ 46908 w 1723389"/>
                <a:gd name="T23" fmla="*/ 580311 h 1723389"/>
                <a:gd name="T24" fmla="*/ 21235 w 1723389"/>
                <a:gd name="T25" fmla="*/ 670473 h 1723389"/>
                <a:gd name="T26" fmla="*/ 5405 w 1723389"/>
                <a:gd name="T27" fmla="*/ 764368 h 1723389"/>
                <a:gd name="T28" fmla="*/ 0 w 1723389"/>
                <a:gd name="T29" fmla="*/ 861415 h 1723389"/>
                <a:gd name="T30" fmla="*/ 5405 w 1723389"/>
                <a:gd name="T31" fmla="*/ 958462 h 1723389"/>
                <a:gd name="T32" fmla="*/ 21235 w 1723389"/>
                <a:gd name="T33" fmla="*/ 1052357 h 1723389"/>
                <a:gd name="T34" fmla="*/ 46908 w 1723389"/>
                <a:gd name="T35" fmla="*/ 1142517 h 1723389"/>
                <a:gd name="T36" fmla="*/ 81841 w 1723389"/>
                <a:gd name="T37" fmla="*/ 1228362 h 1723389"/>
                <a:gd name="T38" fmla="*/ 125452 w 1723389"/>
                <a:gd name="T39" fmla="*/ 1309309 h 1723389"/>
                <a:gd name="T40" fmla="*/ 177161 w 1723389"/>
                <a:gd name="T41" fmla="*/ 1384777 h 1723389"/>
                <a:gd name="T42" fmla="*/ 236386 w 1723389"/>
                <a:gd name="T43" fmla="*/ 1454183 h 1723389"/>
                <a:gd name="T44" fmla="*/ 302543 w 1723389"/>
                <a:gd name="T45" fmla="*/ 1516947 h 1723389"/>
                <a:gd name="T46" fmla="*/ 375053 w 1723389"/>
                <a:gd name="T47" fmla="*/ 1572486 h 1723389"/>
                <a:gd name="T48" fmla="*/ 453333 w 1723389"/>
                <a:gd name="T49" fmla="*/ 1620220 h 1723389"/>
                <a:gd name="T50" fmla="*/ 536802 w 1723389"/>
                <a:gd name="T51" fmla="*/ 1659565 h 1723389"/>
                <a:gd name="T52" fmla="*/ 624877 w 1723389"/>
                <a:gd name="T53" fmla="*/ 1689940 h 1723389"/>
                <a:gd name="T54" fmla="*/ 716978 w 1723389"/>
                <a:gd name="T55" fmla="*/ 1710764 h 1723389"/>
                <a:gd name="T56" fmla="*/ 812521 w 1723389"/>
                <a:gd name="T57" fmla="*/ 1721454 h 1723389"/>
                <a:gd name="T58" fmla="*/ 910284 w 1723389"/>
                <a:gd name="T59" fmla="*/ 1721454 h 1723389"/>
                <a:gd name="T60" fmla="*/ 1005827 w 1723389"/>
                <a:gd name="T61" fmla="*/ 1710764 h 1723389"/>
                <a:gd name="T62" fmla="*/ 1097928 w 1723389"/>
                <a:gd name="T63" fmla="*/ 1689940 h 1723389"/>
                <a:gd name="T64" fmla="*/ 1186003 w 1723389"/>
                <a:gd name="T65" fmla="*/ 1659565 h 1723389"/>
                <a:gd name="T66" fmla="*/ 1269471 w 1723389"/>
                <a:gd name="T67" fmla="*/ 1620220 h 1723389"/>
                <a:gd name="T68" fmla="*/ 1347751 w 1723389"/>
                <a:gd name="T69" fmla="*/ 1572486 h 1723389"/>
                <a:gd name="T70" fmla="*/ 1420261 w 1723389"/>
                <a:gd name="T71" fmla="*/ 1516947 h 1723389"/>
                <a:gd name="T72" fmla="*/ 1486419 w 1723389"/>
                <a:gd name="T73" fmla="*/ 1454183 h 1723389"/>
                <a:gd name="T74" fmla="*/ 1545644 w 1723389"/>
                <a:gd name="T75" fmla="*/ 1384777 h 1723389"/>
                <a:gd name="T76" fmla="*/ 1597352 w 1723389"/>
                <a:gd name="T77" fmla="*/ 1309309 h 1723389"/>
                <a:gd name="T78" fmla="*/ 1640964 w 1723389"/>
                <a:gd name="T79" fmla="*/ 1228362 h 1723389"/>
                <a:gd name="T80" fmla="*/ 1675897 w 1723389"/>
                <a:gd name="T81" fmla="*/ 1142517 h 1723389"/>
                <a:gd name="T82" fmla="*/ 1701569 w 1723389"/>
                <a:gd name="T83" fmla="*/ 1052357 h 1723389"/>
                <a:gd name="T84" fmla="*/ 1717399 w 1723389"/>
                <a:gd name="T85" fmla="*/ 958462 h 1723389"/>
                <a:gd name="T86" fmla="*/ 1722805 w 1723389"/>
                <a:gd name="T87" fmla="*/ 861415 h 1723389"/>
                <a:gd name="T88" fmla="*/ 1717399 w 1723389"/>
                <a:gd name="T89" fmla="*/ 764368 h 1723389"/>
                <a:gd name="T90" fmla="*/ 1701569 w 1723389"/>
                <a:gd name="T91" fmla="*/ 670473 h 1723389"/>
                <a:gd name="T92" fmla="*/ 1675897 w 1723389"/>
                <a:gd name="T93" fmla="*/ 580311 h 1723389"/>
                <a:gd name="T94" fmla="*/ 1640964 w 1723389"/>
                <a:gd name="T95" fmla="*/ 494466 h 1723389"/>
                <a:gd name="T96" fmla="*/ 1597352 w 1723389"/>
                <a:gd name="T97" fmla="*/ 413518 h 1723389"/>
                <a:gd name="T98" fmla="*/ 1545644 w 1723389"/>
                <a:gd name="T99" fmla="*/ 338049 h 1723389"/>
                <a:gd name="T100" fmla="*/ 1486419 w 1723389"/>
                <a:gd name="T101" fmla="*/ 268641 h 1723389"/>
                <a:gd name="T102" fmla="*/ 1420261 w 1723389"/>
                <a:gd name="T103" fmla="*/ 205876 h 1723389"/>
                <a:gd name="T104" fmla="*/ 1347751 w 1723389"/>
                <a:gd name="T105" fmla="*/ 150335 h 1723389"/>
                <a:gd name="T106" fmla="*/ 1269471 w 1723389"/>
                <a:gd name="T107" fmla="*/ 102601 h 1723389"/>
                <a:gd name="T108" fmla="*/ 1186003 w 1723389"/>
                <a:gd name="T109" fmla="*/ 63255 h 1723389"/>
                <a:gd name="T110" fmla="*/ 1097928 w 1723389"/>
                <a:gd name="T111" fmla="*/ 32879 h 1723389"/>
                <a:gd name="T112" fmla="*/ 1005827 w 1723389"/>
                <a:gd name="T113" fmla="*/ 12054 h 1723389"/>
                <a:gd name="T114" fmla="*/ 910284 w 1723389"/>
                <a:gd name="T115" fmla="*/ 1363 h 172338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723389" h="1723389">
                  <a:moveTo>
                    <a:pt x="861402" y="0"/>
                  </a:moveTo>
                  <a:lnTo>
                    <a:pt x="812521" y="1363"/>
                  </a:lnTo>
                  <a:lnTo>
                    <a:pt x="764355" y="5406"/>
                  </a:lnTo>
                  <a:lnTo>
                    <a:pt x="716978" y="12054"/>
                  </a:lnTo>
                  <a:lnTo>
                    <a:pt x="670461" y="21236"/>
                  </a:lnTo>
                  <a:lnTo>
                    <a:pt x="624877" y="32879"/>
                  </a:lnTo>
                  <a:lnTo>
                    <a:pt x="580300" y="46909"/>
                  </a:lnTo>
                  <a:lnTo>
                    <a:pt x="536802" y="63255"/>
                  </a:lnTo>
                  <a:lnTo>
                    <a:pt x="494455" y="81843"/>
                  </a:lnTo>
                  <a:lnTo>
                    <a:pt x="453333" y="102601"/>
                  </a:lnTo>
                  <a:lnTo>
                    <a:pt x="413508" y="125456"/>
                  </a:lnTo>
                  <a:lnTo>
                    <a:pt x="375053" y="150335"/>
                  </a:lnTo>
                  <a:lnTo>
                    <a:pt x="338041" y="177166"/>
                  </a:lnTo>
                  <a:lnTo>
                    <a:pt x="302543" y="205876"/>
                  </a:lnTo>
                  <a:lnTo>
                    <a:pt x="268634" y="236392"/>
                  </a:lnTo>
                  <a:lnTo>
                    <a:pt x="236386" y="268641"/>
                  </a:lnTo>
                  <a:lnTo>
                    <a:pt x="205870" y="302551"/>
                  </a:lnTo>
                  <a:lnTo>
                    <a:pt x="177161" y="338049"/>
                  </a:lnTo>
                  <a:lnTo>
                    <a:pt x="150331" y="375062"/>
                  </a:lnTo>
                  <a:lnTo>
                    <a:pt x="125452" y="413518"/>
                  </a:lnTo>
                  <a:lnTo>
                    <a:pt x="102598" y="453343"/>
                  </a:lnTo>
                  <a:lnTo>
                    <a:pt x="81841" y="494466"/>
                  </a:lnTo>
                  <a:lnTo>
                    <a:pt x="63253" y="536813"/>
                  </a:lnTo>
                  <a:lnTo>
                    <a:pt x="46908" y="580311"/>
                  </a:lnTo>
                  <a:lnTo>
                    <a:pt x="32878" y="624889"/>
                  </a:lnTo>
                  <a:lnTo>
                    <a:pt x="21235" y="670473"/>
                  </a:lnTo>
                  <a:lnTo>
                    <a:pt x="12054" y="716990"/>
                  </a:lnTo>
                  <a:lnTo>
                    <a:pt x="5405" y="764368"/>
                  </a:lnTo>
                  <a:lnTo>
                    <a:pt x="1363" y="812534"/>
                  </a:lnTo>
                  <a:lnTo>
                    <a:pt x="0" y="861415"/>
                  </a:lnTo>
                  <a:lnTo>
                    <a:pt x="1363" y="910296"/>
                  </a:lnTo>
                  <a:lnTo>
                    <a:pt x="5405" y="958462"/>
                  </a:lnTo>
                  <a:lnTo>
                    <a:pt x="12054" y="1005840"/>
                  </a:lnTo>
                  <a:lnTo>
                    <a:pt x="21235" y="1052357"/>
                  </a:lnTo>
                  <a:lnTo>
                    <a:pt x="32878" y="1097940"/>
                  </a:lnTo>
                  <a:lnTo>
                    <a:pt x="46908" y="1142517"/>
                  </a:lnTo>
                  <a:lnTo>
                    <a:pt x="63253" y="1186016"/>
                  </a:lnTo>
                  <a:lnTo>
                    <a:pt x="81841" y="1228362"/>
                  </a:lnTo>
                  <a:lnTo>
                    <a:pt x="102598" y="1269484"/>
                  </a:lnTo>
                  <a:lnTo>
                    <a:pt x="125452" y="1309309"/>
                  </a:lnTo>
                  <a:lnTo>
                    <a:pt x="150331" y="1347764"/>
                  </a:lnTo>
                  <a:lnTo>
                    <a:pt x="177161" y="1384777"/>
                  </a:lnTo>
                  <a:lnTo>
                    <a:pt x="205870" y="1420274"/>
                  </a:lnTo>
                  <a:lnTo>
                    <a:pt x="236386" y="1454183"/>
                  </a:lnTo>
                  <a:lnTo>
                    <a:pt x="268634" y="1486432"/>
                  </a:lnTo>
                  <a:lnTo>
                    <a:pt x="302543" y="1516947"/>
                  </a:lnTo>
                  <a:lnTo>
                    <a:pt x="338041" y="1545656"/>
                  </a:lnTo>
                  <a:lnTo>
                    <a:pt x="375053" y="1572486"/>
                  </a:lnTo>
                  <a:lnTo>
                    <a:pt x="413508" y="1597365"/>
                  </a:lnTo>
                  <a:lnTo>
                    <a:pt x="453333" y="1620220"/>
                  </a:lnTo>
                  <a:lnTo>
                    <a:pt x="494455" y="1640977"/>
                  </a:lnTo>
                  <a:lnTo>
                    <a:pt x="536802" y="1659565"/>
                  </a:lnTo>
                  <a:lnTo>
                    <a:pt x="580300" y="1675910"/>
                  </a:lnTo>
                  <a:lnTo>
                    <a:pt x="624877" y="1689940"/>
                  </a:lnTo>
                  <a:lnTo>
                    <a:pt x="670461" y="1701582"/>
                  </a:lnTo>
                  <a:lnTo>
                    <a:pt x="716978" y="1710764"/>
                  </a:lnTo>
                  <a:lnTo>
                    <a:pt x="764355" y="1717412"/>
                  </a:lnTo>
                  <a:lnTo>
                    <a:pt x="812521" y="1721454"/>
                  </a:lnTo>
                  <a:lnTo>
                    <a:pt x="861402" y="1722818"/>
                  </a:lnTo>
                  <a:lnTo>
                    <a:pt x="910284" y="1721454"/>
                  </a:lnTo>
                  <a:lnTo>
                    <a:pt x="958449" y="1717412"/>
                  </a:lnTo>
                  <a:lnTo>
                    <a:pt x="1005827" y="1710764"/>
                  </a:lnTo>
                  <a:lnTo>
                    <a:pt x="1052344" y="1701582"/>
                  </a:lnTo>
                  <a:lnTo>
                    <a:pt x="1097928" y="1689940"/>
                  </a:lnTo>
                  <a:lnTo>
                    <a:pt x="1142505" y="1675910"/>
                  </a:lnTo>
                  <a:lnTo>
                    <a:pt x="1186003" y="1659565"/>
                  </a:lnTo>
                  <a:lnTo>
                    <a:pt x="1228349" y="1640977"/>
                  </a:lnTo>
                  <a:lnTo>
                    <a:pt x="1269471" y="1620220"/>
                  </a:lnTo>
                  <a:lnTo>
                    <a:pt x="1309296" y="1597365"/>
                  </a:lnTo>
                  <a:lnTo>
                    <a:pt x="1347751" y="1572486"/>
                  </a:lnTo>
                  <a:lnTo>
                    <a:pt x="1384764" y="1545656"/>
                  </a:lnTo>
                  <a:lnTo>
                    <a:pt x="1420261" y="1516947"/>
                  </a:lnTo>
                  <a:lnTo>
                    <a:pt x="1454171" y="1486432"/>
                  </a:lnTo>
                  <a:lnTo>
                    <a:pt x="1486419" y="1454183"/>
                  </a:lnTo>
                  <a:lnTo>
                    <a:pt x="1516934" y="1420274"/>
                  </a:lnTo>
                  <a:lnTo>
                    <a:pt x="1545644" y="1384777"/>
                  </a:lnTo>
                  <a:lnTo>
                    <a:pt x="1572474" y="1347764"/>
                  </a:lnTo>
                  <a:lnTo>
                    <a:pt x="1597352" y="1309309"/>
                  </a:lnTo>
                  <a:lnTo>
                    <a:pt x="1620207" y="1269484"/>
                  </a:lnTo>
                  <a:lnTo>
                    <a:pt x="1640964" y="1228362"/>
                  </a:lnTo>
                  <a:lnTo>
                    <a:pt x="1659552" y="1186016"/>
                  </a:lnTo>
                  <a:lnTo>
                    <a:pt x="1675897" y="1142517"/>
                  </a:lnTo>
                  <a:lnTo>
                    <a:pt x="1689927" y="1097940"/>
                  </a:lnTo>
                  <a:lnTo>
                    <a:pt x="1701569" y="1052357"/>
                  </a:lnTo>
                  <a:lnTo>
                    <a:pt x="1710751" y="1005840"/>
                  </a:lnTo>
                  <a:lnTo>
                    <a:pt x="1717399" y="958462"/>
                  </a:lnTo>
                  <a:lnTo>
                    <a:pt x="1721442" y="910296"/>
                  </a:lnTo>
                  <a:lnTo>
                    <a:pt x="1722805" y="861415"/>
                  </a:lnTo>
                  <a:lnTo>
                    <a:pt x="1721442" y="812534"/>
                  </a:lnTo>
                  <a:lnTo>
                    <a:pt x="1717399" y="764368"/>
                  </a:lnTo>
                  <a:lnTo>
                    <a:pt x="1710751" y="716990"/>
                  </a:lnTo>
                  <a:lnTo>
                    <a:pt x="1701569" y="670473"/>
                  </a:lnTo>
                  <a:lnTo>
                    <a:pt x="1689927" y="624889"/>
                  </a:lnTo>
                  <a:lnTo>
                    <a:pt x="1675897" y="580311"/>
                  </a:lnTo>
                  <a:lnTo>
                    <a:pt x="1659552" y="536813"/>
                  </a:lnTo>
                  <a:lnTo>
                    <a:pt x="1640964" y="494466"/>
                  </a:lnTo>
                  <a:lnTo>
                    <a:pt x="1620207" y="453343"/>
                  </a:lnTo>
                  <a:lnTo>
                    <a:pt x="1597352" y="413518"/>
                  </a:lnTo>
                  <a:lnTo>
                    <a:pt x="1572474" y="375062"/>
                  </a:lnTo>
                  <a:lnTo>
                    <a:pt x="1545644" y="338049"/>
                  </a:lnTo>
                  <a:lnTo>
                    <a:pt x="1516934" y="302551"/>
                  </a:lnTo>
                  <a:lnTo>
                    <a:pt x="1486419" y="268641"/>
                  </a:lnTo>
                  <a:lnTo>
                    <a:pt x="1454171" y="236392"/>
                  </a:lnTo>
                  <a:lnTo>
                    <a:pt x="1420261" y="205876"/>
                  </a:lnTo>
                  <a:lnTo>
                    <a:pt x="1384764" y="177166"/>
                  </a:lnTo>
                  <a:lnTo>
                    <a:pt x="1347751" y="150335"/>
                  </a:lnTo>
                  <a:lnTo>
                    <a:pt x="1309296" y="125456"/>
                  </a:lnTo>
                  <a:lnTo>
                    <a:pt x="1269471" y="102601"/>
                  </a:lnTo>
                  <a:lnTo>
                    <a:pt x="1228349" y="81843"/>
                  </a:lnTo>
                  <a:lnTo>
                    <a:pt x="1186003" y="63255"/>
                  </a:lnTo>
                  <a:lnTo>
                    <a:pt x="1142505" y="46909"/>
                  </a:lnTo>
                  <a:lnTo>
                    <a:pt x="1097928" y="32879"/>
                  </a:lnTo>
                  <a:lnTo>
                    <a:pt x="1052344" y="21236"/>
                  </a:lnTo>
                  <a:lnTo>
                    <a:pt x="1005827" y="12054"/>
                  </a:lnTo>
                  <a:lnTo>
                    <a:pt x="958449" y="5406"/>
                  </a:lnTo>
                  <a:lnTo>
                    <a:pt x="910284" y="1363"/>
                  </a:lnTo>
                  <a:lnTo>
                    <a:pt x="861402" y="0"/>
                  </a:lnTo>
                  <a:close/>
                </a:path>
              </a:pathLst>
            </a:custGeom>
            <a:solidFill>
              <a:srgbClr val="0A2C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ZA"/>
            </a:p>
          </p:txBody>
        </p:sp>
      </p:grpSp>
      <p:sp>
        <p:nvSpPr>
          <p:cNvPr id="7" name="object 7">
            <a:extLst>
              <a:ext uri="{FF2B5EF4-FFF2-40B4-BE49-F238E27FC236}">
                <a16:creationId xmlns:a16="http://schemas.microsoft.com/office/drawing/2014/main" id="{BA0DAB60-2ED8-1B00-25A8-6E7322E2E67F}"/>
              </a:ext>
            </a:extLst>
          </p:cNvPr>
          <p:cNvSpPr txBox="1"/>
          <p:nvPr/>
        </p:nvSpPr>
        <p:spPr>
          <a:xfrm>
            <a:off x="5287605" y="3116211"/>
            <a:ext cx="1516063" cy="1034257"/>
          </a:xfrm>
          <a:prstGeom prst="rect">
            <a:avLst/>
          </a:prstGeom>
        </p:spPr>
        <p:txBody>
          <a:bodyPr lIns="0" tIns="15875" rIns="0" bIns="0">
            <a:spAutoFit/>
          </a:bodyPr>
          <a:lstStyle/>
          <a:p>
            <a:pPr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en-ZA" sz="165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</a:p>
          <a:p>
            <a:pPr algn="ctr" eaLnBrk="1" fontAlgn="auto" hangingPunct="1">
              <a:spcBef>
                <a:spcPts val="125"/>
              </a:spcBef>
              <a:spcAft>
                <a:spcPts val="0"/>
              </a:spcAft>
              <a:defRPr/>
            </a:pPr>
            <a:r>
              <a:rPr lang="en-ZA" sz="1650" b="1" spc="-30" dirty="0">
                <a:solidFill>
                  <a:srgbClr val="FFFFFF"/>
                </a:solidFill>
                <a:latin typeface="Arial"/>
                <a:cs typeface="Arial"/>
              </a:rPr>
              <a:t>10 October 2024</a:t>
            </a:r>
            <a:endParaRPr lang="en-ZA" sz="1600" b="1" spc="1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fontAlgn="auto" hangingPunct="1">
              <a:lnSpc>
                <a:spcPts val="1914"/>
              </a:lnSpc>
              <a:spcBef>
                <a:spcPts val="15"/>
              </a:spcBef>
              <a:spcAft>
                <a:spcPts val="0"/>
              </a:spcAft>
              <a:defRPr/>
            </a:pPr>
            <a:endParaRPr sz="1600" dirty="0">
              <a:solidFill>
                <a:prstClr val="black"/>
              </a:solidFill>
              <a:latin typeface="Arial Black"/>
              <a:cs typeface="Arial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7309555-D450-F6E2-D546-0C5E4B359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7051" y="1217574"/>
            <a:ext cx="9922226" cy="4316559"/>
          </a:xfrm>
          <a:prstGeom prst="rect">
            <a:avLst/>
          </a:prstGeom>
        </p:spPr>
      </p:pic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CF191F43-430E-B458-970D-A0DC70DCB4A1}"/>
              </a:ext>
            </a:extLst>
          </p:cNvPr>
          <p:cNvSpPr txBox="1">
            <a:spLocks/>
          </p:cNvSpPr>
          <p:nvPr/>
        </p:nvSpPr>
        <p:spPr>
          <a:xfrm>
            <a:off x="0" y="615950"/>
            <a:ext cx="11572875" cy="72390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pPr>
            <a:r>
              <a:rPr lang="en-ZA" altLang="en-US" sz="3600" b="1" kern="12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rPr>
              <a:t>		P92 Regulation on Lexus Nexus</a:t>
            </a:r>
            <a:endParaRPr lang="en-ZA" sz="5400" kern="1200" dirty="0">
              <a:solidFill>
                <a:prstClr val="black">
                  <a:lumMod val="85000"/>
                  <a:lumOff val="15000"/>
                </a:prstClr>
              </a:solidFill>
              <a:latin typeface="Calibri Light" panose="020F0302020204030204"/>
              <a:cs typeface="Arial" pitchFamily="34" charset="0"/>
            </a:endParaRPr>
          </a:p>
          <a:p>
            <a:pPr algn="ctr" rtl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pPr>
            <a:endParaRPr lang="en-ZA" altLang="en-US" sz="3600" b="1" kern="12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  <a:p>
            <a:endParaRPr lang="en-US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9184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19125" y="514350"/>
            <a:ext cx="11572875" cy="7239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ZA" sz="3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rPr>
              <a:t>Subpart 1- Operational requirements</a:t>
            </a:r>
            <a:endParaRPr kumimoji="0" lang="en-ZA" sz="5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 panose="020F0302020204030204"/>
              <a:ea typeface="+mn-ea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3" name="자유형 25">
            <a:extLst>
              <a:ext uri="{FF2B5EF4-FFF2-40B4-BE49-F238E27FC236}">
                <a16:creationId xmlns:a16="http://schemas.microsoft.com/office/drawing/2014/main" id="{6F9B0315-3E21-4AAB-8091-84116968806A}"/>
              </a:ext>
            </a:extLst>
          </p:cNvPr>
          <p:cNvSpPr/>
          <p:nvPr/>
        </p:nvSpPr>
        <p:spPr>
          <a:xfrm flipV="1">
            <a:off x="949193" y="231730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4" name="자유형 27">
            <a:extLst>
              <a:ext uri="{FF2B5EF4-FFF2-40B4-BE49-F238E27FC236}">
                <a16:creationId xmlns:a16="http://schemas.microsoft.com/office/drawing/2014/main" id="{BAAF4201-BC47-48BD-85A2-FF60FD32C0D2}"/>
              </a:ext>
            </a:extLst>
          </p:cNvPr>
          <p:cNvSpPr/>
          <p:nvPr/>
        </p:nvSpPr>
        <p:spPr>
          <a:xfrm flipV="1">
            <a:off x="949193" y="322797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5" name="자유형 29">
            <a:extLst>
              <a:ext uri="{FF2B5EF4-FFF2-40B4-BE49-F238E27FC236}">
                <a16:creationId xmlns:a16="http://schemas.microsoft.com/office/drawing/2014/main" id="{B41BC16A-E44C-473A-AD9D-031FFBA98272}"/>
              </a:ext>
            </a:extLst>
          </p:cNvPr>
          <p:cNvSpPr/>
          <p:nvPr/>
        </p:nvSpPr>
        <p:spPr>
          <a:xfrm flipV="1">
            <a:off x="949193" y="413864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6" name="자유형 30">
            <a:extLst>
              <a:ext uri="{FF2B5EF4-FFF2-40B4-BE49-F238E27FC236}">
                <a16:creationId xmlns:a16="http://schemas.microsoft.com/office/drawing/2014/main" id="{8227162C-9E9B-4110-B362-7FC71344A380}"/>
              </a:ext>
            </a:extLst>
          </p:cNvPr>
          <p:cNvSpPr/>
          <p:nvPr/>
        </p:nvSpPr>
        <p:spPr>
          <a:xfrm flipV="1">
            <a:off x="949193" y="504931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7" name="Oval 10">
            <a:extLst>
              <a:ext uri="{FF2B5EF4-FFF2-40B4-BE49-F238E27FC236}">
                <a16:creationId xmlns:a16="http://schemas.microsoft.com/office/drawing/2014/main" id="{72AE3530-24D2-4870-B0EA-428B8D3BB3D9}"/>
              </a:ext>
            </a:extLst>
          </p:cNvPr>
          <p:cNvSpPr/>
          <p:nvPr/>
        </p:nvSpPr>
        <p:spPr>
          <a:xfrm>
            <a:off x="911134" y="2508855"/>
            <a:ext cx="573285" cy="573285"/>
          </a:xfrm>
          <a:prstGeom prst="roundRect">
            <a:avLst/>
          </a:prstGeom>
          <a:solidFill>
            <a:schemeClr val="accent3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Oval 10">
            <a:extLst>
              <a:ext uri="{FF2B5EF4-FFF2-40B4-BE49-F238E27FC236}">
                <a16:creationId xmlns:a16="http://schemas.microsoft.com/office/drawing/2014/main" id="{5ADE2E0E-0EEA-4FF8-AF91-11B93BF31878}"/>
              </a:ext>
            </a:extLst>
          </p:cNvPr>
          <p:cNvSpPr/>
          <p:nvPr/>
        </p:nvSpPr>
        <p:spPr>
          <a:xfrm>
            <a:off x="911133" y="3419526"/>
            <a:ext cx="573285" cy="573285"/>
          </a:xfrm>
          <a:prstGeom prst="roundRect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" name="Oval 10">
            <a:extLst>
              <a:ext uri="{FF2B5EF4-FFF2-40B4-BE49-F238E27FC236}">
                <a16:creationId xmlns:a16="http://schemas.microsoft.com/office/drawing/2014/main" id="{26A21B57-615A-416D-8158-7C04CE0D090A}"/>
              </a:ext>
            </a:extLst>
          </p:cNvPr>
          <p:cNvSpPr/>
          <p:nvPr/>
        </p:nvSpPr>
        <p:spPr>
          <a:xfrm>
            <a:off x="911132" y="4330197"/>
            <a:ext cx="573285" cy="573285"/>
          </a:xfrm>
          <a:prstGeom prst="roundRect">
            <a:avLst/>
          </a:prstGeom>
          <a:solidFill>
            <a:schemeClr val="accent1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" name="Oval 10">
            <a:extLst>
              <a:ext uri="{FF2B5EF4-FFF2-40B4-BE49-F238E27FC236}">
                <a16:creationId xmlns:a16="http://schemas.microsoft.com/office/drawing/2014/main" id="{270410FB-ED63-48F5-917D-63245B62C090}"/>
              </a:ext>
            </a:extLst>
          </p:cNvPr>
          <p:cNvSpPr/>
          <p:nvPr/>
        </p:nvSpPr>
        <p:spPr>
          <a:xfrm>
            <a:off x="911131" y="5240867"/>
            <a:ext cx="573285" cy="573285"/>
          </a:xfrm>
          <a:prstGeom prst="roundRect">
            <a:avLst/>
          </a:prstGeom>
          <a:solidFill>
            <a:schemeClr val="accent5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E81A377-89F1-4C94-9559-6595D3104355}"/>
              </a:ext>
            </a:extLst>
          </p:cNvPr>
          <p:cNvSpPr/>
          <p:nvPr/>
        </p:nvSpPr>
        <p:spPr>
          <a:xfrm>
            <a:off x="903317" y="1598184"/>
            <a:ext cx="573285" cy="573285"/>
          </a:xfrm>
          <a:prstGeom prst="roundRect">
            <a:avLst/>
          </a:prstGeom>
          <a:solidFill>
            <a:schemeClr val="accent4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19CCAF-0D66-45BB-B163-DB3D30FF84F9}"/>
              </a:ext>
            </a:extLst>
          </p:cNvPr>
          <p:cNvSpPr txBox="1"/>
          <p:nvPr/>
        </p:nvSpPr>
        <p:spPr>
          <a:xfrm>
            <a:off x="1703220" y="5296676"/>
            <a:ext cx="7501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quirements for operators with no approval to carry dangerous goods as carg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501D2AB-E3C2-4D3F-BBFD-D33604879879}"/>
              </a:ext>
            </a:extLst>
          </p:cNvPr>
          <p:cNvSpPr txBox="1"/>
          <p:nvPr/>
        </p:nvSpPr>
        <p:spPr>
          <a:xfrm>
            <a:off x="1703219" y="4386004"/>
            <a:ext cx="7501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perators' compliance with dangerous goods</a:t>
            </a:r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. </a:t>
            </a:r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AC136D-8617-4E49-90F3-83FA74AC98F5}"/>
              </a:ext>
            </a:extLst>
          </p:cNvPr>
          <p:cNvSpPr txBox="1"/>
          <p:nvPr/>
        </p:nvSpPr>
        <p:spPr>
          <a:xfrm>
            <a:off x="1703218" y="3475334"/>
            <a:ext cx="7501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pection of dangerous goods by custom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DA4ADB4-25EC-4B97-B0B4-9677D3EF30CF}"/>
              </a:ext>
            </a:extLst>
          </p:cNvPr>
          <p:cNvSpPr txBox="1"/>
          <p:nvPr/>
        </p:nvSpPr>
        <p:spPr>
          <a:xfrm>
            <a:off x="1703217" y="2564664"/>
            <a:ext cx="75015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ddressing the usage of the ICAO Technical Instructions for the safe transport of dangerous goods and the acceptability of the IATA Dangerous Goods Regulations manual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A04702-F9B5-49A3-99C1-A96125C07E5B}"/>
              </a:ext>
            </a:extLst>
          </p:cNvPr>
          <p:cNvSpPr txBox="1"/>
          <p:nvPr/>
        </p:nvSpPr>
        <p:spPr>
          <a:xfrm>
            <a:off x="1703216" y="1653994"/>
            <a:ext cx="75015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pplicability has been expanded to include entities which are not operators but are involved in the Dangerous Goods supply chain as per the standard 11  (Annex 18)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3772113-522E-4220-875A-07A8BD4CBF73}"/>
              </a:ext>
            </a:extLst>
          </p:cNvPr>
          <p:cNvSpPr txBox="1"/>
          <p:nvPr/>
        </p:nvSpPr>
        <p:spPr>
          <a:xfrm>
            <a:off x="9632715" y="1530882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4"/>
                </a:solidFill>
              </a:rPr>
              <a:t> </a:t>
            </a:r>
            <a:r>
              <a:rPr lang="en-US" altLang="ko-KR" sz="2000" dirty="0">
                <a:solidFill>
                  <a:schemeClr val="accent4"/>
                </a:solidFill>
              </a:rPr>
              <a:t>92.01.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8BA16F5-80AB-4048-9ADA-03269B85D0D2}"/>
              </a:ext>
            </a:extLst>
          </p:cNvPr>
          <p:cNvSpPr txBox="1"/>
          <p:nvPr/>
        </p:nvSpPr>
        <p:spPr>
          <a:xfrm>
            <a:off x="9632715" y="2441553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3"/>
                </a:solidFill>
              </a:rPr>
              <a:t> </a:t>
            </a:r>
            <a:r>
              <a:rPr lang="en-US" altLang="ko-KR" sz="2000" dirty="0">
                <a:solidFill>
                  <a:schemeClr val="accent3"/>
                </a:solidFill>
              </a:rPr>
              <a:t>92.01. 6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80BA17-8E65-4FC8-A068-432E6E9FDFB8}"/>
              </a:ext>
            </a:extLst>
          </p:cNvPr>
          <p:cNvSpPr txBox="1"/>
          <p:nvPr/>
        </p:nvSpPr>
        <p:spPr>
          <a:xfrm>
            <a:off x="9632715" y="3352224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2"/>
                </a:solidFill>
              </a:rPr>
              <a:t> </a:t>
            </a:r>
            <a:r>
              <a:rPr lang="en-US" altLang="ko-KR" sz="2000" dirty="0">
                <a:solidFill>
                  <a:schemeClr val="accent2"/>
                </a:solidFill>
              </a:rPr>
              <a:t>92.01.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EB3E7A-D308-410B-AE18-6F9AB0A24479}"/>
              </a:ext>
            </a:extLst>
          </p:cNvPr>
          <p:cNvSpPr txBox="1"/>
          <p:nvPr/>
        </p:nvSpPr>
        <p:spPr>
          <a:xfrm>
            <a:off x="9632715" y="4262895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1"/>
                </a:solidFill>
              </a:rPr>
              <a:t> </a:t>
            </a:r>
            <a:r>
              <a:rPr lang="en-US" altLang="ko-KR" sz="2000" dirty="0">
                <a:solidFill>
                  <a:schemeClr val="accent1"/>
                </a:solidFill>
              </a:rPr>
              <a:t>92.01.17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87C2DB-8299-433A-9C66-C2E7DC5A1867}"/>
              </a:ext>
            </a:extLst>
          </p:cNvPr>
          <p:cNvSpPr txBox="1"/>
          <p:nvPr/>
        </p:nvSpPr>
        <p:spPr>
          <a:xfrm>
            <a:off x="9632715" y="5173565"/>
            <a:ext cx="1740892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4"/>
                </a:solidFill>
              </a:rPr>
              <a:t> </a:t>
            </a:r>
            <a:r>
              <a:rPr lang="en-US" altLang="ko-KR" sz="2000" dirty="0">
                <a:solidFill>
                  <a:schemeClr val="accent4"/>
                </a:solidFill>
              </a:rPr>
              <a:t>92.01.18</a:t>
            </a:r>
          </a:p>
        </p:txBody>
      </p:sp>
    </p:spTree>
    <p:extLst>
      <p:ext uri="{BB962C8B-B14F-4D97-AF65-F5344CB8AC3E}">
        <p14:creationId xmlns:p14="http://schemas.microsoft.com/office/powerpoint/2010/main" val="61589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19125" y="538163"/>
            <a:ext cx="11572875" cy="7239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ZA" sz="3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rPr>
              <a:t>Subpart 1- Operational requirements</a:t>
            </a:r>
            <a:endParaRPr kumimoji="0" lang="en-ZA" sz="5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 panose="020F0302020204030204"/>
              <a:ea typeface="+mn-ea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3" name="자유형 25">
            <a:extLst>
              <a:ext uri="{FF2B5EF4-FFF2-40B4-BE49-F238E27FC236}">
                <a16:creationId xmlns:a16="http://schemas.microsoft.com/office/drawing/2014/main" id="{6F9B0315-3E21-4AAB-8091-84116968806A}"/>
              </a:ext>
            </a:extLst>
          </p:cNvPr>
          <p:cNvSpPr/>
          <p:nvPr/>
        </p:nvSpPr>
        <p:spPr>
          <a:xfrm flipV="1">
            <a:off x="949193" y="231730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4" name="자유형 27">
            <a:extLst>
              <a:ext uri="{FF2B5EF4-FFF2-40B4-BE49-F238E27FC236}">
                <a16:creationId xmlns:a16="http://schemas.microsoft.com/office/drawing/2014/main" id="{BAAF4201-BC47-48BD-85A2-FF60FD32C0D2}"/>
              </a:ext>
            </a:extLst>
          </p:cNvPr>
          <p:cNvSpPr/>
          <p:nvPr/>
        </p:nvSpPr>
        <p:spPr>
          <a:xfrm flipV="1">
            <a:off x="949193" y="322797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5" name="자유형 29">
            <a:extLst>
              <a:ext uri="{FF2B5EF4-FFF2-40B4-BE49-F238E27FC236}">
                <a16:creationId xmlns:a16="http://schemas.microsoft.com/office/drawing/2014/main" id="{B41BC16A-E44C-473A-AD9D-031FFBA98272}"/>
              </a:ext>
            </a:extLst>
          </p:cNvPr>
          <p:cNvSpPr/>
          <p:nvPr/>
        </p:nvSpPr>
        <p:spPr>
          <a:xfrm flipV="1">
            <a:off x="949193" y="413864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6" name="자유형 30">
            <a:extLst>
              <a:ext uri="{FF2B5EF4-FFF2-40B4-BE49-F238E27FC236}">
                <a16:creationId xmlns:a16="http://schemas.microsoft.com/office/drawing/2014/main" id="{8227162C-9E9B-4110-B362-7FC71344A380}"/>
              </a:ext>
            </a:extLst>
          </p:cNvPr>
          <p:cNvSpPr/>
          <p:nvPr/>
        </p:nvSpPr>
        <p:spPr>
          <a:xfrm flipV="1">
            <a:off x="949193" y="504931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7" name="Oval 10">
            <a:extLst>
              <a:ext uri="{FF2B5EF4-FFF2-40B4-BE49-F238E27FC236}">
                <a16:creationId xmlns:a16="http://schemas.microsoft.com/office/drawing/2014/main" id="{72AE3530-24D2-4870-B0EA-428B8D3BB3D9}"/>
              </a:ext>
            </a:extLst>
          </p:cNvPr>
          <p:cNvSpPr/>
          <p:nvPr/>
        </p:nvSpPr>
        <p:spPr>
          <a:xfrm>
            <a:off x="911134" y="2508855"/>
            <a:ext cx="573285" cy="573285"/>
          </a:xfrm>
          <a:prstGeom prst="roundRect">
            <a:avLst/>
          </a:prstGeom>
          <a:solidFill>
            <a:schemeClr val="accent3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8" name="Oval 10">
            <a:extLst>
              <a:ext uri="{FF2B5EF4-FFF2-40B4-BE49-F238E27FC236}">
                <a16:creationId xmlns:a16="http://schemas.microsoft.com/office/drawing/2014/main" id="{5ADE2E0E-0EEA-4FF8-AF91-11B93BF31878}"/>
              </a:ext>
            </a:extLst>
          </p:cNvPr>
          <p:cNvSpPr/>
          <p:nvPr/>
        </p:nvSpPr>
        <p:spPr>
          <a:xfrm>
            <a:off x="911133" y="3419526"/>
            <a:ext cx="573285" cy="573285"/>
          </a:xfrm>
          <a:prstGeom prst="roundRect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9" name="Oval 10">
            <a:extLst>
              <a:ext uri="{FF2B5EF4-FFF2-40B4-BE49-F238E27FC236}">
                <a16:creationId xmlns:a16="http://schemas.microsoft.com/office/drawing/2014/main" id="{26A21B57-615A-416D-8158-7C04CE0D090A}"/>
              </a:ext>
            </a:extLst>
          </p:cNvPr>
          <p:cNvSpPr/>
          <p:nvPr/>
        </p:nvSpPr>
        <p:spPr>
          <a:xfrm>
            <a:off x="911132" y="4330197"/>
            <a:ext cx="573285" cy="573285"/>
          </a:xfrm>
          <a:prstGeom prst="roundRect">
            <a:avLst/>
          </a:prstGeom>
          <a:solidFill>
            <a:schemeClr val="accent1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0" name="Oval 10">
            <a:extLst>
              <a:ext uri="{FF2B5EF4-FFF2-40B4-BE49-F238E27FC236}">
                <a16:creationId xmlns:a16="http://schemas.microsoft.com/office/drawing/2014/main" id="{270410FB-ED63-48F5-917D-63245B62C090}"/>
              </a:ext>
            </a:extLst>
          </p:cNvPr>
          <p:cNvSpPr/>
          <p:nvPr/>
        </p:nvSpPr>
        <p:spPr>
          <a:xfrm>
            <a:off x="903317" y="5254913"/>
            <a:ext cx="675931" cy="503428"/>
          </a:xfrm>
          <a:prstGeom prst="roundRect">
            <a:avLst/>
          </a:prstGeom>
          <a:solidFill>
            <a:schemeClr val="accent5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E81A377-89F1-4C94-9559-6595D3104355}"/>
              </a:ext>
            </a:extLst>
          </p:cNvPr>
          <p:cNvSpPr/>
          <p:nvPr/>
        </p:nvSpPr>
        <p:spPr>
          <a:xfrm>
            <a:off x="903317" y="1598184"/>
            <a:ext cx="573285" cy="573285"/>
          </a:xfrm>
          <a:prstGeom prst="roundRect">
            <a:avLst/>
          </a:prstGeom>
          <a:solidFill>
            <a:schemeClr val="accent4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19CCAF-0D66-45BB-B163-DB3D30FF84F9}"/>
              </a:ext>
            </a:extLst>
          </p:cNvPr>
          <p:cNvSpPr txBox="1"/>
          <p:nvPr/>
        </p:nvSpPr>
        <p:spPr>
          <a:xfrm>
            <a:off x="1703220" y="5296676"/>
            <a:ext cx="7501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ngerous Goods designated areas within cargo warehous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501D2AB-E3C2-4D3F-BBFD-D33604879879}"/>
              </a:ext>
            </a:extLst>
          </p:cNvPr>
          <p:cNvSpPr txBox="1"/>
          <p:nvPr/>
        </p:nvSpPr>
        <p:spPr>
          <a:xfrm>
            <a:off x="1703219" y="4386004"/>
            <a:ext cx="7501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ansportation of company material (COMAT)</a:t>
            </a:r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. </a:t>
            </a:r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AC136D-8617-4E49-90F3-83FA74AC98F5}"/>
              </a:ext>
            </a:extLst>
          </p:cNvPr>
          <p:cNvSpPr txBox="1"/>
          <p:nvPr/>
        </p:nvSpPr>
        <p:spPr>
          <a:xfrm>
            <a:off x="1703218" y="3475334"/>
            <a:ext cx="75015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fety management systems related regulations addressing Risk assessment, cargo compartments in line with Annex 6 –chapter 15 cargo safety requirem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DA4ADB4-25EC-4B97-B0B4-9677D3EF30CF}"/>
              </a:ext>
            </a:extLst>
          </p:cNvPr>
          <p:cNvSpPr txBox="1"/>
          <p:nvPr/>
        </p:nvSpPr>
        <p:spPr>
          <a:xfrm>
            <a:off x="1703217" y="2564664"/>
            <a:ext cx="7501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dditional requirements for Helicopter operato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A04702-F9B5-49A3-99C1-A96125C07E5B}"/>
              </a:ext>
            </a:extLst>
          </p:cNvPr>
          <p:cNvSpPr txBox="1"/>
          <p:nvPr/>
        </p:nvSpPr>
        <p:spPr>
          <a:xfrm>
            <a:off x="1703216" y="1653994"/>
            <a:ext cx="7501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quirements for operators with specific approval to carry dangerous goods as cargo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3772113-522E-4220-875A-07A8BD4CBF73}"/>
              </a:ext>
            </a:extLst>
          </p:cNvPr>
          <p:cNvSpPr txBox="1"/>
          <p:nvPr/>
        </p:nvSpPr>
        <p:spPr>
          <a:xfrm>
            <a:off x="9632715" y="1530882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4"/>
                </a:solidFill>
              </a:rPr>
              <a:t> </a:t>
            </a:r>
            <a:r>
              <a:rPr lang="en-US" altLang="ko-KR" sz="2000" dirty="0">
                <a:solidFill>
                  <a:schemeClr val="accent4"/>
                </a:solidFill>
              </a:rPr>
              <a:t>92.01.19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8BA16F5-80AB-4048-9ADA-03269B85D0D2}"/>
              </a:ext>
            </a:extLst>
          </p:cNvPr>
          <p:cNvSpPr txBox="1"/>
          <p:nvPr/>
        </p:nvSpPr>
        <p:spPr>
          <a:xfrm>
            <a:off x="9632715" y="2441553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3"/>
                </a:solidFill>
              </a:rPr>
              <a:t> </a:t>
            </a:r>
            <a:r>
              <a:rPr lang="en-US" altLang="ko-KR" sz="2000" dirty="0">
                <a:solidFill>
                  <a:schemeClr val="accent3"/>
                </a:solidFill>
              </a:rPr>
              <a:t>92.01.2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80BA17-8E65-4FC8-A068-432E6E9FDFB8}"/>
              </a:ext>
            </a:extLst>
          </p:cNvPr>
          <p:cNvSpPr txBox="1"/>
          <p:nvPr/>
        </p:nvSpPr>
        <p:spPr>
          <a:xfrm>
            <a:off x="9632715" y="3352224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2"/>
                </a:solidFill>
              </a:rPr>
              <a:t> </a:t>
            </a:r>
            <a:r>
              <a:rPr lang="en-US" altLang="ko-KR" sz="2000" dirty="0">
                <a:solidFill>
                  <a:schemeClr val="accent2"/>
                </a:solidFill>
              </a:rPr>
              <a:t>92.01.22-2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EB3E7A-D308-410B-AE18-6F9AB0A24479}"/>
              </a:ext>
            </a:extLst>
          </p:cNvPr>
          <p:cNvSpPr txBox="1"/>
          <p:nvPr/>
        </p:nvSpPr>
        <p:spPr>
          <a:xfrm>
            <a:off x="9632715" y="4262895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1"/>
                </a:solidFill>
              </a:rPr>
              <a:t> </a:t>
            </a:r>
            <a:r>
              <a:rPr lang="en-US" altLang="ko-KR" sz="2000" dirty="0">
                <a:solidFill>
                  <a:schemeClr val="accent1"/>
                </a:solidFill>
              </a:rPr>
              <a:t>92.01.27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87C2DB-8299-433A-9C66-C2E7DC5A1867}"/>
              </a:ext>
            </a:extLst>
          </p:cNvPr>
          <p:cNvSpPr txBox="1"/>
          <p:nvPr/>
        </p:nvSpPr>
        <p:spPr>
          <a:xfrm>
            <a:off x="9632715" y="5173565"/>
            <a:ext cx="1740892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4"/>
                </a:solidFill>
              </a:rPr>
              <a:t> </a:t>
            </a:r>
            <a:r>
              <a:rPr lang="en-US" altLang="ko-KR" sz="2000" dirty="0">
                <a:solidFill>
                  <a:schemeClr val="accent4"/>
                </a:solidFill>
              </a:rPr>
              <a:t>92.01.26</a:t>
            </a:r>
          </a:p>
        </p:txBody>
      </p:sp>
    </p:spTree>
    <p:extLst>
      <p:ext uri="{BB962C8B-B14F-4D97-AF65-F5344CB8AC3E}">
        <p14:creationId xmlns:p14="http://schemas.microsoft.com/office/powerpoint/2010/main" val="374252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19125" y="496888"/>
            <a:ext cx="11572875" cy="7239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ZA" sz="3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rPr>
              <a:t>Subpart 1- Operational requirements</a:t>
            </a:r>
            <a:endParaRPr kumimoji="0" lang="en-ZA" sz="5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 panose="020F0302020204030204"/>
              <a:ea typeface="+mn-ea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3" name="자유형 25">
            <a:extLst>
              <a:ext uri="{FF2B5EF4-FFF2-40B4-BE49-F238E27FC236}">
                <a16:creationId xmlns:a16="http://schemas.microsoft.com/office/drawing/2014/main" id="{6F9B0315-3E21-4AAB-8091-84116968806A}"/>
              </a:ext>
            </a:extLst>
          </p:cNvPr>
          <p:cNvSpPr/>
          <p:nvPr/>
        </p:nvSpPr>
        <p:spPr>
          <a:xfrm flipV="1">
            <a:off x="949193" y="231730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4" name="자유형 27">
            <a:extLst>
              <a:ext uri="{FF2B5EF4-FFF2-40B4-BE49-F238E27FC236}">
                <a16:creationId xmlns:a16="http://schemas.microsoft.com/office/drawing/2014/main" id="{BAAF4201-BC47-48BD-85A2-FF60FD32C0D2}"/>
              </a:ext>
            </a:extLst>
          </p:cNvPr>
          <p:cNvSpPr/>
          <p:nvPr/>
        </p:nvSpPr>
        <p:spPr>
          <a:xfrm flipV="1">
            <a:off x="949193" y="322797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5" name="자유형 29">
            <a:extLst>
              <a:ext uri="{FF2B5EF4-FFF2-40B4-BE49-F238E27FC236}">
                <a16:creationId xmlns:a16="http://schemas.microsoft.com/office/drawing/2014/main" id="{B41BC16A-E44C-473A-AD9D-031FFBA98272}"/>
              </a:ext>
            </a:extLst>
          </p:cNvPr>
          <p:cNvSpPr/>
          <p:nvPr/>
        </p:nvSpPr>
        <p:spPr>
          <a:xfrm flipV="1">
            <a:off x="949193" y="413864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6" name="자유형 30">
            <a:extLst>
              <a:ext uri="{FF2B5EF4-FFF2-40B4-BE49-F238E27FC236}">
                <a16:creationId xmlns:a16="http://schemas.microsoft.com/office/drawing/2014/main" id="{8227162C-9E9B-4110-B362-7FC71344A380}"/>
              </a:ext>
            </a:extLst>
          </p:cNvPr>
          <p:cNvSpPr/>
          <p:nvPr/>
        </p:nvSpPr>
        <p:spPr>
          <a:xfrm flipV="1">
            <a:off x="949193" y="504931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7" name="Oval 10">
            <a:extLst>
              <a:ext uri="{FF2B5EF4-FFF2-40B4-BE49-F238E27FC236}">
                <a16:creationId xmlns:a16="http://schemas.microsoft.com/office/drawing/2014/main" id="{72AE3530-24D2-4870-B0EA-428B8D3BB3D9}"/>
              </a:ext>
            </a:extLst>
          </p:cNvPr>
          <p:cNvSpPr/>
          <p:nvPr/>
        </p:nvSpPr>
        <p:spPr>
          <a:xfrm>
            <a:off x="911134" y="2508855"/>
            <a:ext cx="668114" cy="573281"/>
          </a:xfrm>
          <a:prstGeom prst="roundRect">
            <a:avLst/>
          </a:prstGeom>
          <a:solidFill>
            <a:schemeClr val="accent3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8" name="Oval 10">
            <a:extLst>
              <a:ext uri="{FF2B5EF4-FFF2-40B4-BE49-F238E27FC236}">
                <a16:creationId xmlns:a16="http://schemas.microsoft.com/office/drawing/2014/main" id="{5ADE2E0E-0EEA-4FF8-AF91-11B93BF31878}"/>
              </a:ext>
            </a:extLst>
          </p:cNvPr>
          <p:cNvSpPr/>
          <p:nvPr/>
        </p:nvSpPr>
        <p:spPr>
          <a:xfrm>
            <a:off x="911133" y="3419527"/>
            <a:ext cx="668114" cy="573280"/>
          </a:xfrm>
          <a:prstGeom prst="roundRect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9" name="Oval 10">
            <a:extLst>
              <a:ext uri="{FF2B5EF4-FFF2-40B4-BE49-F238E27FC236}">
                <a16:creationId xmlns:a16="http://schemas.microsoft.com/office/drawing/2014/main" id="{26A21B57-615A-416D-8158-7C04CE0D090A}"/>
              </a:ext>
            </a:extLst>
          </p:cNvPr>
          <p:cNvSpPr/>
          <p:nvPr/>
        </p:nvSpPr>
        <p:spPr>
          <a:xfrm>
            <a:off x="911132" y="4400050"/>
            <a:ext cx="668114" cy="503428"/>
          </a:xfrm>
          <a:prstGeom prst="roundRect">
            <a:avLst/>
          </a:prstGeom>
          <a:solidFill>
            <a:schemeClr val="accent1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14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E81A377-89F1-4C94-9559-6595D3104355}"/>
              </a:ext>
            </a:extLst>
          </p:cNvPr>
          <p:cNvSpPr/>
          <p:nvPr/>
        </p:nvSpPr>
        <p:spPr>
          <a:xfrm>
            <a:off x="903317" y="1598185"/>
            <a:ext cx="675931" cy="559236"/>
          </a:xfrm>
          <a:prstGeom prst="roundRect">
            <a:avLst/>
          </a:prstGeom>
          <a:solidFill>
            <a:schemeClr val="accent4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501D2AB-E3C2-4D3F-BBFD-D33604879879}"/>
              </a:ext>
            </a:extLst>
          </p:cNvPr>
          <p:cNvSpPr txBox="1"/>
          <p:nvPr/>
        </p:nvSpPr>
        <p:spPr>
          <a:xfrm>
            <a:off x="1703219" y="4386004"/>
            <a:ext cx="7501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ngerous Goods Security – High consequence dangerous good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AC136D-8617-4E49-90F3-83FA74AC98F5}"/>
              </a:ext>
            </a:extLst>
          </p:cNvPr>
          <p:cNvSpPr txBox="1"/>
          <p:nvPr/>
        </p:nvSpPr>
        <p:spPr>
          <a:xfrm>
            <a:off x="1703218" y="3475334"/>
            <a:ext cx="7501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taining of dangerous goods packages pending an investigation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DA4ADB4-25EC-4B97-B0B4-9677D3EF30CF}"/>
              </a:ext>
            </a:extLst>
          </p:cNvPr>
          <p:cNvSpPr txBox="1"/>
          <p:nvPr/>
        </p:nvSpPr>
        <p:spPr>
          <a:xfrm>
            <a:off x="1703217" y="2564664"/>
            <a:ext cx="7501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quirements for online retaile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A04702-F9B5-49A3-99C1-A96125C07E5B}"/>
              </a:ext>
            </a:extLst>
          </p:cNvPr>
          <p:cNvSpPr txBox="1"/>
          <p:nvPr/>
        </p:nvSpPr>
        <p:spPr>
          <a:xfrm>
            <a:off x="1703216" y="1653994"/>
            <a:ext cx="75015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rgo entities requirements (shippers/couriers/freight forwarders/packers) including approval to handle dangerous goo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3772113-522E-4220-875A-07A8BD4CBF73}"/>
              </a:ext>
            </a:extLst>
          </p:cNvPr>
          <p:cNvSpPr txBox="1"/>
          <p:nvPr/>
        </p:nvSpPr>
        <p:spPr>
          <a:xfrm>
            <a:off x="9632715" y="1530882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4"/>
                </a:solidFill>
              </a:rPr>
              <a:t> </a:t>
            </a:r>
            <a:r>
              <a:rPr lang="en-US" altLang="ko-KR" sz="2000" dirty="0">
                <a:solidFill>
                  <a:schemeClr val="accent4"/>
                </a:solidFill>
              </a:rPr>
              <a:t>92.01.47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8BA16F5-80AB-4048-9ADA-03269B85D0D2}"/>
              </a:ext>
            </a:extLst>
          </p:cNvPr>
          <p:cNvSpPr txBox="1"/>
          <p:nvPr/>
        </p:nvSpPr>
        <p:spPr>
          <a:xfrm>
            <a:off x="9632715" y="2441553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3"/>
                </a:solidFill>
              </a:rPr>
              <a:t> </a:t>
            </a:r>
            <a:r>
              <a:rPr lang="en-US" altLang="ko-KR" sz="2000" dirty="0">
                <a:solidFill>
                  <a:schemeClr val="accent3"/>
                </a:solidFill>
              </a:rPr>
              <a:t>92.01.48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80BA17-8E65-4FC8-A068-432E6E9FDFB8}"/>
              </a:ext>
            </a:extLst>
          </p:cNvPr>
          <p:cNvSpPr txBox="1"/>
          <p:nvPr/>
        </p:nvSpPr>
        <p:spPr>
          <a:xfrm>
            <a:off x="9632715" y="3352224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2"/>
                </a:solidFill>
              </a:rPr>
              <a:t> </a:t>
            </a:r>
            <a:r>
              <a:rPr lang="en-US" altLang="ko-KR" sz="2000" dirty="0">
                <a:solidFill>
                  <a:schemeClr val="accent2"/>
                </a:solidFill>
              </a:rPr>
              <a:t>92.01.5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EB3E7A-D308-410B-AE18-6F9AB0A24479}"/>
              </a:ext>
            </a:extLst>
          </p:cNvPr>
          <p:cNvSpPr txBox="1"/>
          <p:nvPr/>
        </p:nvSpPr>
        <p:spPr>
          <a:xfrm>
            <a:off x="9632715" y="4262895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1"/>
                </a:solidFill>
              </a:rPr>
              <a:t> </a:t>
            </a:r>
            <a:r>
              <a:rPr lang="en-US" altLang="ko-KR" sz="2000" dirty="0">
                <a:solidFill>
                  <a:schemeClr val="accent1"/>
                </a:solidFill>
              </a:rPr>
              <a:t>92.01.55</a:t>
            </a:r>
          </a:p>
        </p:txBody>
      </p:sp>
    </p:spTree>
    <p:extLst>
      <p:ext uri="{BB962C8B-B14F-4D97-AF65-F5344CB8AC3E}">
        <p14:creationId xmlns:p14="http://schemas.microsoft.com/office/powerpoint/2010/main" val="2050271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19125" y="496888"/>
            <a:ext cx="11572875" cy="7239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ZA" sz="3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rPr>
              <a:t>Subpart 1- Operational requirements</a:t>
            </a:r>
            <a:endParaRPr kumimoji="0" lang="en-ZA" sz="5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 panose="020F0302020204030204"/>
              <a:ea typeface="+mn-ea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3" name="자유형 25">
            <a:extLst>
              <a:ext uri="{FF2B5EF4-FFF2-40B4-BE49-F238E27FC236}">
                <a16:creationId xmlns:a16="http://schemas.microsoft.com/office/drawing/2014/main" id="{6F9B0315-3E21-4AAB-8091-84116968806A}"/>
              </a:ext>
            </a:extLst>
          </p:cNvPr>
          <p:cNvSpPr/>
          <p:nvPr/>
        </p:nvSpPr>
        <p:spPr>
          <a:xfrm flipV="1">
            <a:off x="949193" y="231730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4" name="자유형 27">
            <a:extLst>
              <a:ext uri="{FF2B5EF4-FFF2-40B4-BE49-F238E27FC236}">
                <a16:creationId xmlns:a16="http://schemas.microsoft.com/office/drawing/2014/main" id="{BAAF4201-BC47-48BD-85A2-FF60FD32C0D2}"/>
              </a:ext>
            </a:extLst>
          </p:cNvPr>
          <p:cNvSpPr/>
          <p:nvPr/>
        </p:nvSpPr>
        <p:spPr>
          <a:xfrm flipV="1">
            <a:off x="949193" y="322797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5" name="자유형 29">
            <a:extLst>
              <a:ext uri="{FF2B5EF4-FFF2-40B4-BE49-F238E27FC236}">
                <a16:creationId xmlns:a16="http://schemas.microsoft.com/office/drawing/2014/main" id="{B41BC16A-E44C-473A-AD9D-031FFBA98272}"/>
              </a:ext>
            </a:extLst>
          </p:cNvPr>
          <p:cNvSpPr/>
          <p:nvPr/>
        </p:nvSpPr>
        <p:spPr>
          <a:xfrm flipV="1">
            <a:off x="949193" y="413864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6" name="자유형 30">
            <a:extLst>
              <a:ext uri="{FF2B5EF4-FFF2-40B4-BE49-F238E27FC236}">
                <a16:creationId xmlns:a16="http://schemas.microsoft.com/office/drawing/2014/main" id="{8227162C-9E9B-4110-B362-7FC71344A380}"/>
              </a:ext>
            </a:extLst>
          </p:cNvPr>
          <p:cNvSpPr/>
          <p:nvPr/>
        </p:nvSpPr>
        <p:spPr>
          <a:xfrm flipV="1">
            <a:off x="949193" y="5049312"/>
            <a:ext cx="10332000" cy="45719"/>
          </a:xfrm>
          <a:custGeom>
            <a:avLst/>
            <a:gdLst>
              <a:gd name="connsiteX0" fmla="*/ 0 w 7226300"/>
              <a:gd name="connsiteY0" fmla="*/ 0 h 0"/>
              <a:gd name="connsiteX1" fmla="*/ 7226300 w 72263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26300">
                <a:moveTo>
                  <a:pt x="0" y="0"/>
                </a:moveTo>
                <a:lnTo>
                  <a:pt x="7226300" y="0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7" name="Oval 10">
            <a:extLst>
              <a:ext uri="{FF2B5EF4-FFF2-40B4-BE49-F238E27FC236}">
                <a16:creationId xmlns:a16="http://schemas.microsoft.com/office/drawing/2014/main" id="{72AE3530-24D2-4870-B0EA-428B8D3BB3D9}"/>
              </a:ext>
            </a:extLst>
          </p:cNvPr>
          <p:cNvSpPr/>
          <p:nvPr/>
        </p:nvSpPr>
        <p:spPr>
          <a:xfrm>
            <a:off x="911134" y="2508855"/>
            <a:ext cx="668114" cy="573281"/>
          </a:xfrm>
          <a:prstGeom prst="roundRect">
            <a:avLst/>
          </a:prstGeom>
          <a:solidFill>
            <a:schemeClr val="accent3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8" name="Oval 10">
            <a:extLst>
              <a:ext uri="{FF2B5EF4-FFF2-40B4-BE49-F238E27FC236}">
                <a16:creationId xmlns:a16="http://schemas.microsoft.com/office/drawing/2014/main" id="{5ADE2E0E-0EEA-4FF8-AF91-11B93BF31878}"/>
              </a:ext>
            </a:extLst>
          </p:cNvPr>
          <p:cNvSpPr/>
          <p:nvPr/>
        </p:nvSpPr>
        <p:spPr>
          <a:xfrm>
            <a:off x="911133" y="3419527"/>
            <a:ext cx="668114" cy="573280"/>
          </a:xfrm>
          <a:prstGeom prst="roundRect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9" name="Oval 10">
            <a:extLst>
              <a:ext uri="{FF2B5EF4-FFF2-40B4-BE49-F238E27FC236}">
                <a16:creationId xmlns:a16="http://schemas.microsoft.com/office/drawing/2014/main" id="{26A21B57-615A-416D-8158-7C04CE0D090A}"/>
              </a:ext>
            </a:extLst>
          </p:cNvPr>
          <p:cNvSpPr/>
          <p:nvPr/>
        </p:nvSpPr>
        <p:spPr>
          <a:xfrm>
            <a:off x="911132" y="4400050"/>
            <a:ext cx="668114" cy="503428"/>
          </a:xfrm>
          <a:prstGeom prst="roundRect">
            <a:avLst/>
          </a:prstGeom>
          <a:solidFill>
            <a:schemeClr val="accent1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14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E81A377-89F1-4C94-9559-6595D3104355}"/>
              </a:ext>
            </a:extLst>
          </p:cNvPr>
          <p:cNvSpPr/>
          <p:nvPr/>
        </p:nvSpPr>
        <p:spPr>
          <a:xfrm>
            <a:off x="903317" y="1598185"/>
            <a:ext cx="675931" cy="559236"/>
          </a:xfrm>
          <a:prstGeom prst="roundRect">
            <a:avLst/>
          </a:prstGeom>
          <a:solidFill>
            <a:schemeClr val="accent4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501D2AB-E3C2-4D3F-BBFD-D33604879879}"/>
              </a:ext>
            </a:extLst>
          </p:cNvPr>
          <p:cNvSpPr txBox="1"/>
          <p:nvPr/>
        </p:nvSpPr>
        <p:spPr>
          <a:xfrm>
            <a:off x="1703219" y="4386004"/>
            <a:ext cx="7501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ngerous Goods Security – High consequence dangerous good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AC136D-8617-4E49-90F3-83FA74AC98F5}"/>
              </a:ext>
            </a:extLst>
          </p:cNvPr>
          <p:cNvSpPr txBox="1"/>
          <p:nvPr/>
        </p:nvSpPr>
        <p:spPr>
          <a:xfrm>
            <a:off x="1703218" y="3475334"/>
            <a:ext cx="7501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taining of dangerous goods packages pending an investigation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DA4ADB4-25EC-4B97-B0B4-9677D3EF30CF}"/>
              </a:ext>
            </a:extLst>
          </p:cNvPr>
          <p:cNvSpPr txBox="1"/>
          <p:nvPr/>
        </p:nvSpPr>
        <p:spPr>
          <a:xfrm>
            <a:off x="1703217" y="2564664"/>
            <a:ext cx="7501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quirements for online retaile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A04702-F9B5-49A3-99C1-A96125C07E5B}"/>
              </a:ext>
            </a:extLst>
          </p:cNvPr>
          <p:cNvSpPr txBox="1"/>
          <p:nvPr/>
        </p:nvSpPr>
        <p:spPr>
          <a:xfrm>
            <a:off x="1703216" y="1653994"/>
            <a:ext cx="75015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rgo entities requirements (shippers/couriers/freight forwarders/packers) including approval to handle dangerous goo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3772113-522E-4220-875A-07A8BD4CBF73}"/>
              </a:ext>
            </a:extLst>
          </p:cNvPr>
          <p:cNvSpPr txBox="1"/>
          <p:nvPr/>
        </p:nvSpPr>
        <p:spPr>
          <a:xfrm>
            <a:off x="9632715" y="1530882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4"/>
                </a:solidFill>
              </a:rPr>
              <a:t> </a:t>
            </a:r>
            <a:r>
              <a:rPr lang="en-US" altLang="ko-KR" sz="2000" dirty="0">
                <a:solidFill>
                  <a:schemeClr val="accent4"/>
                </a:solidFill>
              </a:rPr>
              <a:t>92.01.47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8BA16F5-80AB-4048-9ADA-03269B85D0D2}"/>
              </a:ext>
            </a:extLst>
          </p:cNvPr>
          <p:cNvSpPr txBox="1"/>
          <p:nvPr/>
        </p:nvSpPr>
        <p:spPr>
          <a:xfrm>
            <a:off x="9632715" y="2441553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3"/>
                </a:solidFill>
              </a:rPr>
              <a:t> </a:t>
            </a:r>
            <a:r>
              <a:rPr lang="en-US" altLang="ko-KR" sz="2000" dirty="0">
                <a:solidFill>
                  <a:schemeClr val="accent3"/>
                </a:solidFill>
              </a:rPr>
              <a:t>92.01.48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80BA17-8E65-4FC8-A068-432E6E9FDFB8}"/>
              </a:ext>
            </a:extLst>
          </p:cNvPr>
          <p:cNvSpPr txBox="1"/>
          <p:nvPr/>
        </p:nvSpPr>
        <p:spPr>
          <a:xfrm>
            <a:off x="9632715" y="3352224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2"/>
                </a:solidFill>
              </a:rPr>
              <a:t> </a:t>
            </a:r>
            <a:r>
              <a:rPr lang="en-US" altLang="ko-KR" sz="2000" dirty="0">
                <a:solidFill>
                  <a:schemeClr val="accent2"/>
                </a:solidFill>
              </a:rPr>
              <a:t>92.01.5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EB3E7A-D308-410B-AE18-6F9AB0A24479}"/>
              </a:ext>
            </a:extLst>
          </p:cNvPr>
          <p:cNvSpPr txBox="1"/>
          <p:nvPr/>
        </p:nvSpPr>
        <p:spPr>
          <a:xfrm>
            <a:off x="9632715" y="4262895"/>
            <a:ext cx="1740892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ko-KR" sz="4000" dirty="0">
                <a:solidFill>
                  <a:schemeClr val="accent1"/>
                </a:solidFill>
              </a:rPr>
              <a:t> </a:t>
            </a:r>
            <a:r>
              <a:rPr lang="en-US" altLang="ko-KR" sz="2000" dirty="0">
                <a:solidFill>
                  <a:schemeClr val="accent1"/>
                </a:solidFill>
              </a:rPr>
              <a:t>92.01.55</a:t>
            </a:r>
          </a:p>
        </p:txBody>
      </p:sp>
      <p:pic>
        <p:nvPicPr>
          <p:cNvPr id="10" name="Picture 9" descr="dang ppt cont bot.png">
            <a:extLst>
              <a:ext uri="{FF2B5EF4-FFF2-40B4-BE49-F238E27FC236}">
                <a16:creationId xmlns:a16="http://schemas.microsoft.com/office/drawing/2014/main" id="{E6E6C7F7-80D2-6625-403D-3BC84805AA8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67079"/>
            <a:ext cx="12192000" cy="690921"/>
          </a:xfrm>
          <a:prstGeom prst="rect">
            <a:avLst/>
          </a:prstGeom>
        </p:spPr>
      </p:pic>
      <p:pic>
        <p:nvPicPr>
          <p:cNvPr id="12" name="Picture 11" descr="dang ppt cont top 2.png">
            <a:extLst>
              <a:ext uri="{FF2B5EF4-FFF2-40B4-BE49-F238E27FC236}">
                <a16:creationId xmlns:a16="http://schemas.microsoft.com/office/drawing/2014/main" id="{FC23FCA3-75C2-6C47-E586-7B8F8D1F83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8215" y="158993"/>
            <a:ext cx="990600" cy="114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380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554038"/>
            <a:ext cx="11572875" cy="7239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alt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Subpart 2- Training </a:t>
            </a:r>
            <a:endParaRPr kumimoji="0" lang="en-ZA" sz="5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 panose="020F0302020204030204"/>
              <a:ea typeface="+mn-ea"/>
              <a:cs typeface="Arial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4CEDD89-FB95-4698-A951-8D667DAD61F7}"/>
              </a:ext>
            </a:extLst>
          </p:cNvPr>
          <p:cNvCxnSpPr/>
          <p:nvPr/>
        </p:nvCxnSpPr>
        <p:spPr>
          <a:xfrm flipV="1">
            <a:off x="981112" y="3709066"/>
            <a:ext cx="11363" cy="1800000"/>
          </a:xfrm>
          <a:prstGeom prst="line">
            <a:avLst/>
          </a:prstGeom>
          <a:ln w="25400">
            <a:solidFill>
              <a:schemeClr val="accent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73AC6F6-116D-4971-9838-E43566A33F7B}"/>
              </a:ext>
            </a:extLst>
          </p:cNvPr>
          <p:cNvCxnSpPr/>
          <p:nvPr/>
        </p:nvCxnSpPr>
        <p:spPr>
          <a:xfrm flipV="1">
            <a:off x="3301544" y="3064493"/>
            <a:ext cx="11363" cy="1800000"/>
          </a:xfrm>
          <a:prstGeom prst="line">
            <a:avLst/>
          </a:prstGeom>
          <a:ln w="25400">
            <a:solidFill>
              <a:schemeClr val="accent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2A7DE9A-E02E-4428-88E9-F0BCCAB02C1D}"/>
              </a:ext>
            </a:extLst>
          </p:cNvPr>
          <p:cNvCxnSpPr/>
          <p:nvPr/>
        </p:nvCxnSpPr>
        <p:spPr>
          <a:xfrm flipV="1">
            <a:off x="5621976" y="2419921"/>
            <a:ext cx="11363" cy="1800000"/>
          </a:xfrm>
          <a:prstGeom prst="line">
            <a:avLst/>
          </a:prstGeom>
          <a:ln w="25400">
            <a:solidFill>
              <a:schemeClr val="accent3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B4486CC-CA76-4B10-B129-8499FDEA5FEA}"/>
              </a:ext>
            </a:extLst>
          </p:cNvPr>
          <p:cNvCxnSpPr/>
          <p:nvPr/>
        </p:nvCxnSpPr>
        <p:spPr>
          <a:xfrm flipV="1">
            <a:off x="7942408" y="1775349"/>
            <a:ext cx="11363" cy="1800000"/>
          </a:xfrm>
          <a:prstGeom prst="line">
            <a:avLst/>
          </a:prstGeom>
          <a:ln w="25400">
            <a:solidFill>
              <a:schemeClr val="accent4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7">
            <a:extLst>
              <a:ext uri="{FF2B5EF4-FFF2-40B4-BE49-F238E27FC236}">
                <a16:creationId xmlns:a16="http://schemas.microsoft.com/office/drawing/2014/main" id="{0C365D8F-B51C-4EA5-AE51-77287C3CAC89}"/>
              </a:ext>
            </a:extLst>
          </p:cNvPr>
          <p:cNvSpPr/>
          <p:nvPr/>
        </p:nvSpPr>
        <p:spPr>
          <a:xfrm>
            <a:off x="116505" y="4783241"/>
            <a:ext cx="9963150" cy="1238793"/>
          </a:xfrm>
          <a:custGeom>
            <a:avLst/>
            <a:gdLst>
              <a:gd name="connsiteX0" fmla="*/ 1665514 w 7946571"/>
              <a:gd name="connsiteY0" fmla="*/ 957943 h 957943"/>
              <a:gd name="connsiteX1" fmla="*/ 1665514 w 7946571"/>
              <a:gd name="connsiteY1" fmla="*/ 957943 h 957943"/>
              <a:gd name="connsiteX2" fmla="*/ 7946571 w 7946571"/>
              <a:gd name="connsiteY2" fmla="*/ 43543 h 957943"/>
              <a:gd name="connsiteX3" fmla="*/ 5878285 w 7946571"/>
              <a:gd name="connsiteY3" fmla="*/ 0 h 957943"/>
              <a:gd name="connsiteX4" fmla="*/ 0 w 7946571"/>
              <a:gd name="connsiteY4" fmla="*/ 489858 h 957943"/>
              <a:gd name="connsiteX5" fmla="*/ 1665514 w 7946571"/>
              <a:gd name="connsiteY5" fmla="*/ 957943 h 957943"/>
              <a:gd name="connsiteX0" fmla="*/ 0 w 7946571"/>
              <a:gd name="connsiteY0" fmla="*/ 489858 h 957943"/>
              <a:gd name="connsiteX1" fmla="*/ 1665514 w 7946571"/>
              <a:gd name="connsiteY1" fmla="*/ 957943 h 957943"/>
              <a:gd name="connsiteX2" fmla="*/ 7946571 w 7946571"/>
              <a:gd name="connsiteY2" fmla="*/ 43543 h 957943"/>
              <a:gd name="connsiteX3" fmla="*/ 5878285 w 7946571"/>
              <a:gd name="connsiteY3" fmla="*/ 0 h 957943"/>
              <a:gd name="connsiteX4" fmla="*/ 0 w 7946571"/>
              <a:gd name="connsiteY4" fmla="*/ 489858 h 957943"/>
              <a:gd name="connsiteX0" fmla="*/ 0 w 7946571"/>
              <a:gd name="connsiteY0" fmla="*/ 489858 h 833119"/>
              <a:gd name="connsiteX1" fmla="*/ 1799254 w 7946571"/>
              <a:gd name="connsiteY1" fmla="*/ 833119 h 833119"/>
              <a:gd name="connsiteX2" fmla="*/ 7946571 w 7946571"/>
              <a:gd name="connsiteY2" fmla="*/ 43543 h 833119"/>
              <a:gd name="connsiteX3" fmla="*/ 5878285 w 7946571"/>
              <a:gd name="connsiteY3" fmla="*/ 0 h 833119"/>
              <a:gd name="connsiteX4" fmla="*/ 0 w 7946571"/>
              <a:gd name="connsiteY4" fmla="*/ 489858 h 833119"/>
              <a:gd name="connsiteX0" fmla="*/ 0 w 7946571"/>
              <a:gd name="connsiteY0" fmla="*/ 489858 h 895531"/>
              <a:gd name="connsiteX1" fmla="*/ 1781423 w 7946571"/>
              <a:gd name="connsiteY1" fmla="*/ 895531 h 895531"/>
              <a:gd name="connsiteX2" fmla="*/ 7946571 w 7946571"/>
              <a:gd name="connsiteY2" fmla="*/ 43543 h 895531"/>
              <a:gd name="connsiteX3" fmla="*/ 5878285 w 7946571"/>
              <a:gd name="connsiteY3" fmla="*/ 0 h 895531"/>
              <a:gd name="connsiteX4" fmla="*/ 0 w 7946571"/>
              <a:gd name="connsiteY4" fmla="*/ 489858 h 895531"/>
              <a:gd name="connsiteX0" fmla="*/ 0 w 7946571"/>
              <a:gd name="connsiteY0" fmla="*/ 489858 h 833119"/>
              <a:gd name="connsiteX1" fmla="*/ 2031070 w 7946571"/>
              <a:gd name="connsiteY1" fmla="*/ 833119 h 833119"/>
              <a:gd name="connsiteX2" fmla="*/ 7946571 w 7946571"/>
              <a:gd name="connsiteY2" fmla="*/ 43543 h 833119"/>
              <a:gd name="connsiteX3" fmla="*/ 5878285 w 7946571"/>
              <a:gd name="connsiteY3" fmla="*/ 0 h 833119"/>
              <a:gd name="connsiteX4" fmla="*/ 0 w 7946571"/>
              <a:gd name="connsiteY4" fmla="*/ 489858 h 833119"/>
              <a:gd name="connsiteX0" fmla="*/ 0 w 7946571"/>
              <a:gd name="connsiteY0" fmla="*/ 489858 h 850326"/>
              <a:gd name="connsiteX1" fmla="*/ 2031070 w 7946571"/>
              <a:gd name="connsiteY1" fmla="*/ 833119 h 850326"/>
              <a:gd name="connsiteX2" fmla="*/ 2181428 w 7946571"/>
              <a:gd name="connsiteY2" fmla="*/ 799114 h 850326"/>
              <a:gd name="connsiteX3" fmla="*/ 7946571 w 7946571"/>
              <a:gd name="connsiteY3" fmla="*/ 43543 h 850326"/>
              <a:gd name="connsiteX4" fmla="*/ 5878285 w 7946571"/>
              <a:gd name="connsiteY4" fmla="*/ 0 h 850326"/>
              <a:gd name="connsiteX5" fmla="*/ 0 w 7946571"/>
              <a:gd name="connsiteY5" fmla="*/ 489858 h 850326"/>
              <a:gd name="connsiteX0" fmla="*/ 0 w 7946571"/>
              <a:gd name="connsiteY0" fmla="*/ 489858 h 863871"/>
              <a:gd name="connsiteX1" fmla="*/ 2031070 w 7946571"/>
              <a:gd name="connsiteY1" fmla="*/ 833119 h 863871"/>
              <a:gd name="connsiteX2" fmla="*/ 2199260 w 7946571"/>
              <a:gd name="connsiteY2" fmla="*/ 843694 h 863871"/>
              <a:gd name="connsiteX3" fmla="*/ 7946571 w 7946571"/>
              <a:gd name="connsiteY3" fmla="*/ 43543 h 863871"/>
              <a:gd name="connsiteX4" fmla="*/ 5878285 w 7946571"/>
              <a:gd name="connsiteY4" fmla="*/ 0 h 863871"/>
              <a:gd name="connsiteX5" fmla="*/ 0 w 7946571"/>
              <a:gd name="connsiteY5" fmla="*/ 489858 h 863871"/>
              <a:gd name="connsiteX0" fmla="*/ 0 w 7679092"/>
              <a:gd name="connsiteY0" fmla="*/ 489858 h 863871"/>
              <a:gd name="connsiteX1" fmla="*/ 2031070 w 7679092"/>
              <a:gd name="connsiteY1" fmla="*/ 833119 h 863871"/>
              <a:gd name="connsiteX2" fmla="*/ 2199260 w 7679092"/>
              <a:gd name="connsiteY2" fmla="*/ 843694 h 863871"/>
              <a:gd name="connsiteX3" fmla="*/ 7679092 w 7679092"/>
              <a:gd name="connsiteY3" fmla="*/ 212947 h 863871"/>
              <a:gd name="connsiteX4" fmla="*/ 5878285 w 7679092"/>
              <a:gd name="connsiteY4" fmla="*/ 0 h 863871"/>
              <a:gd name="connsiteX5" fmla="*/ 0 w 7679092"/>
              <a:gd name="connsiteY5" fmla="*/ 489858 h 863871"/>
              <a:gd name="connsiteX0" fmla="*/ 0 w 7982235"/>
              <a:gd name="connsiteY0" fmla="*/ 489858 h 863871"/>
              <a:gd name="connsiteX1" fmla="*/ 2031070 w 7982235"/>
              <a:gd name="connsiteY1" fmla="*/ 833119 h 863871"/>
              <a:gd name="connsiteX2" fmla="*/ 2199260 w 7982235"/>
              <a:gd name="connsiteY2" fmla="*/ 843694 h 863871"/>
              <a:gd name="connsiteX3" fmla="*/ 7982235 w 7982235"/>
              <a:gd name="connsiteY3" fmla="*/ 132702 h 863871"/>
              <a:gd name="connsiteX4" fmla="*/ 5878285 w 7982235"/>
              <a:gd name="connsiteY4" fmla="*/ 0 h 863871"/>
              <a:gd name="connsiteX5" fmla="*/ 0 w 7982235"/>
              <a:gd name="connsiteY5" fmla="*/ 489858 h 863871"/>
              <a:gd name="connsiteX0" fmla="*/ 0 w 8035731"/>
              <a:gd name="connsiteY0" fmla="*/ 489858 h 863871"/>
              <a:gd name="connsiteX1" fmla="*/ 2031070 w 8035731"/>
              <a:gd name="connsiteY1" fmla="*/ 833119 h 863871"/>
              <a:gd name="connsiteX2" fmla="*/ 2199260 w 8035731"/>
              <a:gd name="connsiteY2" fmla="*/ 843694 h 863871"/>
              <a:gd name="connsiteX3" fmla="*/ 8035731 w 8035731"/>
              <a:gd name="connsiteY3" fmla="*/ 34627 h 863871"/>
              <a:gd name="connsiteX4" fmla="*/ 5878285 w 8035731"/>
              <a:gd name="connsiteY4" fmla="*/ 0 h 863871"/>
              <a:gd name="connsiteX5" fmla="*/ 0 w 8035731"/>
              <a:gd name="connsiteY5" fmla="*/ 489858 h 863871"/>
              <a:gd name="connsiteX0" fmla="*/ 0 w 8026816"/>
              <a:gd name="connsiteY0" fmla="*/ 489858 h 863871"/>
              <a:gd name="connsiteX1" fmla="*/ 2031070 w 8026816"/>
              <a:gd name="connsiteY1" fmla="*/ 833119 h 863871"/>
              <a:gd name="connsiteX2" fmla="*/ 2199260 w 8026816"/>
              <a:gd name="connsiteY2" fmla="*/ 843694 h 863871"/>
              <a:gd name="connsiteX3" fmla="*/ 8026816 w 8026816"/>
              <a:gd name="connsiteY3" fmla="*/ 284275 h 863871"/>
              <a:gd name="connsiteX4" fmla="*/ 5878285 w 8026816"/>
              <a:gd name="connsiteY4" fmla="*/ 0 h 863871"/>
              <a:gd name="connsiteX5" fmla="*/ 0 w 8026816"/>
              <a:gd name="connsiteY5" fmla="*/ 489858 h 863871"/>
              <a:gd name="connsiteX0" fmla="*/ 0 w 8026816"/>
              <a:gd name="connsiteY0" fmla="*/ 489858 h 863871"/>
              <a:gd name="connsiteX1" fmla="*/ 2031070 w 8026816"/>
              <a:gd name="connsiteY1" fmla="*/ 833119 h 863871"/>
              <a:gd name="connsiteX2" fmla="*/ 2199260 w 8026816"/>
              <a:gd name="connsiteY2" fmla="*/ 843694 h 863871"/>
              <a:gd name="connsiteX3" fmla="*/ 8026816 w 8026816"/>
              <a:gd name="connsiteY3" fmla="*/ 177283 h 863871"/>
              <a:gd name="connsiteX4" fmla="*/ 5878285 w 8026816"/>
              <a:gd name="connsiteY4" fmla="*/ 0 h 863871"/>
              <a:gd name="connsiteX5" fmla="*/ 0 w 8026816"/>
              <a:gd name="connsiteY5" fmla="*/ 489858 h 863871"/>
              <a:gd name="connsiteX0" fmla="*/ 0 w 7242209"/>
              <a:gd name="connsiteY0" fmla="*/ 489858 h 863871"/>
              <a:gd name="connsiteX1" fmla="*/ 2031070 w 7242209"/>
              <a:gd name="connsiteY1" fmla="*/ 833119 h 863871"/>
              <a:gd name="connsiteX2" fmla="*/ 2199260 w 7242209"/>
              <a:gd name="connsiteY2" fmla="*/ 843694 h 863871"/>
              <a:gd name="connsiteX3" fmla="*/ 7242209 w 7242209"/>
              <a:gd name="connsiteY3" fmla="*/ 177283 h 863871"/>
              <a:gd name="connsiteX4" fmla="*/ 5878285 w 7242209"/>
              <a:gd name="connsiteY4" fmla="*/ 0 h 863871"/>
              <a:gd name="connsiteX5" fmla="*/ 0 w 7242209"/>
              <a:gd name="connsiteY5" fmla="*/ 489858 h 863871"/>
              <a:gd name="connsiteX0" fmla="*/ 0 w 7215461"/>
              <a:gd name="connsiteY0" fmla="*/ 489858 h 863871"/>
              <a:gd name="connsiteX1" fmla="*/ 2031070 w 7215461"/>
              <a:gd name="connsiteY1" fmla="*/ 833119 h 863871"/>
              <a:gd name="connsiteX2" fmla="*/ 2199260 w 7215461"/>
              <a:gd name="connsiteY2" fmla="*/ 843694 h 863871"/>
              <a:gd name="connsiteX3" fmla="*/ 7215461 w 7215461"/>
              <a:gd name="connsiteY3" fmla="*/ 328854 h 863871"/>
              <a:gd name="connsiteX4" fmla="*/ 5878285 w 7215461"/>
              <a:gd name="connsiteY4" fmla="*/ 0 h 863871"/>
              <a:gd name="connsiteX5" fmla="*/ 0 w 7215461"/>
              <a:gd name="connsiteY5" fmla="*/ 489858 h 863871"/>
              <a:gd name="connsiteX0" fmla="*/ 0 w 7215461"/>
              <a:gd name="connsiteY0" fmla="*/ 596850 h 970863"/>
              <a:gd name="connsiteX1" fmla="*/ 2031070 w 7215461"/>
              <a:gd name="connsiteY1" fmla="*/ 940111 h 970863"/>
              <a:gd name="connsiteX2" fmla="*/ 2199260 w 7215461"/>
              <a:gd name="connsiteY2" fmla="*/ 950686 h 970863"/>
              <a:gd name="connsiteX3" fmla="*/ 7215461 w 7215461"/>
              <a:gd name="connsiteY3" fmla="*/ 435846 h 970863"/>
              <a:gd name="connsiteX4" fmla="*/ 5628637 w 7215461"/>
              <a:gd name="connsiteY4" fmla="*/ 0 h 970863"/>
              <a:gd name="connsiteX5" fmla="*/ 0 w 7215461"/>
              <a:gd name="connsiteY5" fmla="*/ 596850 h 970863"/>
              <a:gd name="connsiteX0" fmla="*/ 0 w 7063889"/>
              <a:gd name="connsiteY0" fmla="*/ 596850 h 970863"/>
              <a:gd name="connsiteX1" fmla="*/ 2031070 w 7063889"/>
              <a:gd name="connsiteY1" fmla="*/ 940111 h 970863"/>
              <a:gd name="connsiteX2" fmla="*/ 2199260 w 7063889"/>
              <a:gd name="connsiteY2" fmla="*/ 950686 h 970863"/>
              <a:gd name="connsiteX3" fmla="*/ 7063889 w 7063889"/>
              <a:gd name="connsiteY3" fmla="*/ 355603 h 970863"/>
              <a:gd name="connsiteX4" fmla="*/ 5628637 w 7063889"/>
              <a:gd name="connsiteY4" fmla="*/ 0 h 970863"/>
              <a:gd name="connsiteX5" fmla="*/ 0 w 7063889"/>
              <a:gd name="connsiteY5" fmla="*/ 596850 h 970863"/>
              <a:gd name="connsiteX0" fmla="*/ 0 w 6921233"/>
              <a:gd name="connsiteY0" fmla="*/ 596850 h 970863"/>
              <a:gd name="connsiteX1" fmla="*/ 2031070 w 6921233"/>
              <a:gd name="connsiteY1" fmla="*/ 940111 h 970863"/>
              <a:gd name="connsiteX2" fmla="*/ 2199260 w 6921233"/>
              <a:gd name="connsiteY2" fmla="*/ 950686 h 970863"/>
              <a:gd name="connsiteX3" fmla="*/ 6921233 w 6921233"/>
              <a:gd name="connsiteY3" fmla="*/ 302106 h 970863"/>
              <a:gd name="connsiteX4" fmla="*/ 5628637 w 6921233"/>
              <a:gd name="connsiteY4" fmla="*/ 0 h 970863"/>
              <a:gd name="connsiteX5" fmla="*/ 0 w 6921233"/>
              <a:gd name="connsiteY5" fmla="*/ 596850 h 970863"/>
              <a:gd name="connsiteX0" fmla="*/ 0 w 6921233"/>
              <a:gd name="connsiteY0" fmla="*/ 659262 h 1033275"/>
              <a:gd name="connsiteX1" fmla="*/ 2031070 w 6921233"/>
              <a:gd name="connsiteY1" fmla="*/ 1002523 h 1033275"/>
              <a:gd name="connsiteX2" fmla="*/ 2199260 w 6921233"/>
              <a:gd name="connsiteY2" fmla="*/ 1013098 h 1033275"/>
              <a:gd name="connsiteX3" fmla="*/ 6921233 w 6921233"/>
              <a:gd name="connsiteY3" fmla="*/ 364518 h 1033275"/>
              <a:gd name="connsiteX4" fmla="*/ 5468149 w 6921233"/>
              <a:gd name="connsiteY4" fmla="*/ 0 h 1033275"/>
              <a:gd name="connsiteX5" fmla="*/ 0 w 6921233"/>
              <a:gd name="connsiteY5" fmla="*/ 659262 h 1033275"/>
              <a:gd name="connsiteX0" fmla="*/ 0 w 6921233"/>
              <a:gd name="connsiteY0" fmla="*/ 489858 h 863871"/>
              <a:gd name="connsiteX1" fmla="*/ 2031070 w 6921233"/>
              <a:gd name="connsiteY1" fmla="*/ 833119 h 863871"/>
              <a:gd name="connsiteX2" fmla="*/ 2199260 w 6921233"/>
              <a:gd name="connsiteY2" fmla="*/ 843694 h 863871"/>
              <a:gd name="connsiteX3" fmla="*/ 6921233 w 6921233"/>
              <a:gd name="connsiteY3" fmla="*/ 195114 h 863871"/>
              <a:gd name="connsiteX4" fmla="*/ 5280914 w 6921233"/>
              <a:gd name="connsiteY4" fmla="*/ 0 h 863871"/>
              <a:gd name="connsiteX5" fmla="*/ 0 w 6921233"/>
              <a:gd name="connsiteY5" fmla="*/ 489858 h 863871"/>
              <a:gd name="connsiteX0" fmla="*/ 0 w 6921233"/>
              <a:gd name="connsiteY0" fmla="*/ 579018 h 953031"/>
              <a:gd name="connsiteX1" fmla="*/ 2031070 w 6921233"/>
              <a:gd name="connsiteY1" fmla="*/ 922279 h 953031"/>
              <a:gd name="connsiteX2" fmla="*/ 2199260 w 6921233"/>
              <a:gd name="connsiteY2" fmla="*/ 932854 h 953031"/>
              <a:gd name="connsiteX3" fmla="*/ 6921233 w 6921233"/>
              <a:gd name="connsiteY3" fmla="*/ 284274 h 953031"/>
              <a:gd name="connsiteX4" fmla="*/ 5156091 w 6921233"/>
              <a:gd name="connsiteY4" fmla="*/ 0 h 953031"/>
              <a:gd name="connsiteX5" fmla="*/ 0 w 6921233"/>
              <a:gd name="connsiteY5" fmla="*/ 579018 h 953031"/>
              <a:gd name="connsiteX0" fmla="*/ 0 w 6921233"/>
              <a:gd name="connsiteY0" fmla="*/ 489858 h 863871"/>
              <a:gd name="connsiteX1" fmla="*/ 2031070 w 6921233"/>
              <a:gd name="connsiteY1" fmla="*/ 833119 h 863871"/>
              <a:gd name="connsiteX2" fmla="*/ 2199260 w 6921233"/>
              <a:gd name="connsiteY2" fmla="*/ 843694 h 863871"/>
              <a:gd name="connsiteX3" fmla="*/ 6921233 w 6921233"/>
              <a:gd name="connsiteY3" fmla="*/ 195114 h 863871"/>
              <a:gd name="connsiteX4" fmla="*/ 5004519 w 6921233"/>
              <a:gd name="connsiteY4" fmla="*/ 0 h 863871"/>
              <a:gd name="connsiteX5" fmla="*/ 0 w 6921233"/>
              <a:gd name="connsiteY5" fmla="*/ 489858 h 863871"/>
              <a:gd name="connsiteX0" fmla="*/ 0 w 6921233"/>
              <a:gd name="connsiteY0" fmla="*/ 516606 h 890619"/>
              <a:gd name="connsiteX1" fmla="*/ 2031070 w 6921233"/>
              <a:gd name="connsiteY1" fmla="*/ 859867 h 890619"/>
              <a:gd name="connsiteX2" fmla="*/ 2199260 w 6921233"/>
              <a:gd name="connsiteY2" fmla="*/ 870442 h 890619"/>
              <a:gd name="connsiteX3" fmla="*/ 6921233 w 6921233"/>
              <a:gd name="connsiteY3" fmla="*/ 221862 h 890619"/>
              <a:gd name="connsiteX4" fmla="*/ 4835116 w 6921233"/>
              <a:gd name="connsiteY4" fmla="*/ 0 h 890619"/>
              <a:gd name="connsiteX5" fmla="*/ 0 w 6921233"/>
              <a:gd name="connsiteY5" fmla="*/ 516606 h 890619"/>
              <a:gd name="connsiteX0" fmla="*/ 0 w 7028224"/>
              <a:gd name="connsiteY0" fmla="*/ 516606 h 890619"/>
              <a:gd name="connsiteX1" fmla="*/ 2031070 w 7028224"/>
              <a:gd name="connsiteY1" fmla="*/ 859867 h 890619"/>
              <a:gd name="connsiteX2" fmla="*/ 2199260 w 7028224"/>
              <a:gd name="connsiteY2" fmla="*/ 870442 h 890619"/>
              <a:gd name="connsiteX3" fmla="*/ 7028224 w 7028224"/>
              <a:gd name="connsiteY3" fmla="*/ 150534 h 890619"/>
              <a:gd name="connsiteX4" fmla="*/ 4835116 w 7028224"/>
              <a:gd name="connsiteY4" fmla="*/ 0 h 890619"/>
              <a:gd name="connsiteX5" fmla="*/ 0 w 7028224"/>
              <a:gd name="connsiteY5" fmla="*/ 516606 h 890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28224" h="890619">
                <a:moveTo>
                  <a:pt x="0" y="516606"/>
                </a:moveTo>
                <a:lnTo>
                  <a:pt x="2031070" y="859867"/>
                </a:lnTo>
                <a:cubicBezTo>
                  <a:pt x="2397613" y="918840"/>
                  <a:pt x="2187777" y="875833"/>
                  <a:pt x="2199260" y="870442"/>
                </a:cubicBezTo>
                <a:lnTo>
                  <a:pt x="7028224" y="150534"/>
                </a:lnTo>
                <a:lnTo>
                  <a:pt x="4835116" y="0"/>
                </a:lnTo>
                <a:lnTo>
                  <a:pt x="0" y="516606"/>
                </a:lnTo>
                <a:close/>
              </a:path>
            </a:pathLst>
          </a:custGeom>
          <a:solidFill>
            <a:schemeClr val="tx1">
              <a:lumMod val="50000"/>
              <a:lumOff val="50000"/>
              <a:alpha val="25000"/>
            </a:schemeClr>
          </a:solidFill>
          <a:ln>
            <a:noFill/>
          </a:ln>
          <a:effectLst>
            <a:softEdge rad="114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60F8524-0A4C-4E1C-9513-B1BD35631E5C}"/>
              </a:ext>
            </a:extLst>
          </p:cNvPr>
          <p:cNvSpPr/>
          <p:nvPr/>
        </p:nvSpPr>
        <p:spPr>
          <a:xfrm>
            <a:off x="2330118" y="5525027"/>
            <a:ext cx="1656184" cy="360040"/>
          </a:xfrm>
          <a:prstGeom prst="rect">
            <a:avLst/>
          </a:prstGeom>
          <a:solidFill>
            <a:schemeClr val="accent1"/>
          </a:solidFill>
          <a:ln>
            <a:noFill/>
          </a:ln>
          <a:scene3d>
            <a:camera prst="orthographicFront">
              <a:rot lat="297669" lon="18624798" rev="52620"/>
            </a:camera>
            <a:lightRig rig="threePt" dir="t">
              <a:rot lat="0" lon="0" rev="1800000"/>
            </a:lightRig>
          </a:scene3d>
          <a:sp3d extrusionH="2171700">
            <a:extrusionClr>
              <a:schemeClr val="accent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87CAE00-43F8-43C3-A3AA-0919566D1751}"/>
              </a:ext>
            </a:extLst>
          </p:cNvPr>
          <p:cNvSpPr/>
          <p:nvPr/>
        </p:nvSpPr>
        <p:spPr>
          <a:xfrm>
            <a:off x="4650550" y="4876955"/>
            <a:ext cx="1656184" cy="360040"/>
          </a:xfrm>
          <a:prstGeom prst="rect">
            <a:avLst/>
          </a:prstGeom>
          <a:solidFill>
            <a:schemeClr val="accent2"/>
          </a:solidFill>
          <a:ln>
            <a:noFill/>
          </a:ln>
          <a:scene3d>
            <a:camera prst="orthographicFront">
              <a:rot lat="297669" lon="18624798" rev="52620"/>
            </a:camera>
            <a:lightRig rig="threePt" dir="t">
              <a:rot lat="0" lon="0" rev="1800000"/>
            </a:lightRig>
          </a:scene3d>
          <a:sp3d extrusionH="2171700">
            <a:extrusionClr>
              <a:schemeClr val="accent2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CE5775-A6BE-48EC-9AE3-DD1B8EB71F14}"/>
              </a:ext>
            </a:extLst>
          </p:cNvPr>
          <p:cNvSpPr/>
          <p:nvPr/>
        </p:nvSpPr>
        <p:spPr>
          <a:xfrm>
            <a:off x="6970982" y="4228883"/>
            <a:ext cx="1656184" cy="360040"/>
          </a:xfrm>
          <a:prstGeom prst="rect">
            <a:avLst/>
          </a:prstGeom>
          <a:solidFill>
            <a:schemeClr val="accent3"/>
          </a:solidFill>
          <a:ln>
            <a:noFill/>
          </a:ln>
          <a:scene3d>
            <a:camera prst="orthographicFront">
              <a:rot lat="297669" lon="18624798" rev="52620"/>
            </a:camera>
            <a:lightRig rig="threePt" dir="t">
              <a:rot lat="0" lon="0" rev="1800000"/>
            </a:lightRig>
          </a:scene3d>
          <a:sp3d extrusionH="2171700">
            <a:extrusionClr>
              <a:schemeClr val="accent3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0CBB38F-1896-40FA-8156-C3F7EFC2A617}"/>
              </a:ext>
            </a:extLst>
          </p:cNvPr>
          <p:cNvSpPr/>
          <p:nvPr/>
        </p:nvSpPr>
        <p:spPr>
          <a:xfrm>
            <a:off x="9291414" y="3580811"/>
            <a:ext cx="1656184" cy="360040"/>
          </a:xfrm>
          <a:prstGeom prst="rect">
            <a:avLst/>
          </a:prstGeom>
          <a:solidFill>
            <a:schemeClr val="accent4"/>
          </a:solidFill>
          <a:ln>
            <a:noFill/>
          </a:ln>
          <a:scene3d>
            <a:camera prst="orthographicFront">
              <a:rot lat="297669" lon="18624798" rev="52620"/>
            </a:camera>
            <a:lightRig rig="threePt" dir="t">
              <a:rot lat="0" lon="0" rev="1800000"/>
            </a:lightRig>
          </a:scene3d>
          <a:sp3d extrusionH="2171700">
            <a:extrusionClr>
              <a:schemeClr val="accent4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24B46152-1512-46A0-AED5-FF1369FF6B36}"/>
              </a:ext>
            </a:extLst>
          </p:cNvPr>
          <p:cNvSpPr/>
          <p:nvPr/>
        </p:nvSpPr>
        <p:spPr>
          <a:xfrm>
            <a:off x="3386312" y="5287987"/>
            <a:ext cx="2274213" cy="777093"/>
          </a:xfrm>
          <a:prstGeom prst="arc">
            <a:avLst>
              <a:gd name="adj1" fmla="val 20633190"/>
              <a:gd name="adj2" fmla="val 9870224"/>
            </a:avLst>
          </a:prstGeom>
          <a:ln w="12700">
            <a:solidFill>
              <a:schemeClr val="tx1">
                <a:lumMod val="75000"/>
                <a:lumOff val="25000"/>
              </a:schemeClr>
            </a:solidFill>
            <a:prstDash val="dash"/>
            <a:headEnd type="triangl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AF7DAB2-4D7F-4052-993B-B9E880C8FCB3}"/>
              </a:ext>
            </a:extLst>
          </p:cNvPr>
          <p:cNvGrpSpPr/>
          <p:nvPr/>
        </p:nvGrpSpPr>
        <p:grpSpPr>
          <a:xfrm>
            <a:off x="1053401" y="3586401"/>
            <a:ext cx="2000666" cy="1636953"/>
            <a:chOff x="4965552" y="1576676"/>
            <a:chExt cx="1374974" cy="1636953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52FABD8-8437-483C-A209-7358C76DD032}"/>
                </a:ext>
              </a:extLst>
            </p:cNvPr>
            <p:cNvSpPr txBox="1"/>
            <p:nvPr/>
          </p:nvSpPr>
          <p:spPr>
            <a:xfrm>
              <a:off x="4965552" y="2197966"/>
              <a:ext cx="1374974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rPr>
                <a:t>General training requirements replacing the old Part 92.00.8. addresses validity of training 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FC208D6-BE11-4807-811F-CAEC097A7206}"/>
                </a:ext>
              </a:extLst>
            </p:cNvPr>
            <p:cNvSpPr txBox="1"/>
            <p:nvPr/>
          </p:nvSpPr>
          <p:spPr>
            <a:xfrm>
              <a:off x="4965552" y="1576676"/>
              <a:ext cx="137497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GENERAL TRAINING REQUIRENTS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0D3E5F9-202C-473B-9C85-C4BAE0E9A712}"/>
              </a:ext>
            </a:extLst>
          </p:cNvPr>
          <p:cNvGrpSpPr/>
          <p:nvPr/>
        </p:nvGrpSpPr>
        <p:grpSpPr>
          <a:xfrm>
            <a:off x="3420932" y="2985028"/>
            <a:ext cx="2017420" cy="1711204"/>
            <a:chOff x="4965552" y="1736224"/>
            <a:chExt cx="1386489" cy="171120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9A56744-058B-4CD2-B945-7DFF205FD76A}"/>
                </a:ext>
              </a:extLst>
            </p:cNvPr>
            <p:cNvSpPr txBox="1"/>
            <p:nvPr/>
          </p:nvSpPr>
          <p:spPr>
            <a:xfrm>
              <a:off x="4977067" y="2431765"/>
              <a:ext cx="1374974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rPr>
                <a:t>Establishments of training programmes in line with Competency Based Training and  applicability of training 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0CE8A56-B8EA-4DE1-B294-EAB2B1FDEC14}"/>
                </a:ext>
              </a:extLst>
            </p:cNvPr>
            <p:cNvSpPr txBox="1"/>
            <p:nvPr/>
          </p:nvSpPr>
          <p:spPr>
            <a:xfrm>
              <a:off x="4965552" y="1736224"/>
              <a:ext cx="137497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TRAINING PROGRAMMES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6F83CEA-F2CB-40FC-BFE8-69F82778871B}"/>
              </a:ext>
            </a:extLst>
          </p:cNvPr>
          <p:cNvGrpSpPr/>
          <p:nvPr/>
        </p:nvGrpSpPr>
        <p:grpSpPr>
          <a:xfrm>
            <a:off x="5756265" y="2395645"/>
            <a:ext cx="2000666" cy="1290894"/>
            <a:chOff x="4965552" y="1736224"/>
            <a:chExt cx="1374974" cy="129089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1637843-EC4F-4850-8DCD-76D9B5A7614B}"/>
                </a:ext>
              </a:extLst>
            </p:cNvPr>
            <p:cNvSpPr txBox="1"/>
            <p:nvPr/>
          </p:nvSpPr>
          <p:spPr>
            <a:xfrm>
              <a:off x="4965552" y="2565453"/>
              <a:ext cx="137497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rPr>
                <a:t>Validation of foreign certificates 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5AB37D3-FFD6-4670-A108-58560521A2FC}"/>
                </a:ext>
              </a:extLst>
            </p:cNvPr>
            <p:cNvSpPr txBox="1"/>
            <p:nvPr/>
          </p:nvSpPr>
          <p:spPr>
            <a:xfrm>
              <a:off x="4965552" y="1736224"/>
              <a:ext cx="137497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/>
                  <a:cs typeface="Arial" pitchFamily="34" charset="0"/>
                </a:rPr>
                <a:t>VALIDATION OF FOREIGN CERTIFICATES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A6494AF-B876-4718-83BE-12821BF6DF24}"/>
              </a:ext>
            </a:extLst>
          </p:cNvPr>
          <p:cNvGrpSpPr/>
          <p:nvPr/>
        </p:nvGrpSpPr>
        <p:grpSpPr>
          <a:xfrm>
            <a:off x="8128234" y="1666754"/>
            <a:ext cx="2134606" cy="1479340"/>
            <a:chOff x="4971638" y="1684686"/>
            <a:chExt cx="1382915" cy="1170376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F1B0A52-75F2-4AEB-A571-E19EF68648AD}"/>
                </a:ext>
              </a:extLst>
            </p:cNvPr>
            <p:cNvSpPr txBox="1"/>
            <p:nvPr/>
          </p:nvSpPr>
          <p:spPr>
            <a:xfrm>
              <a:off x="4971638" y="2343719"/>
              <a:ext cx="1374974" cy="5113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rPr>
                <a:t>Requirements for foreign training programmes validation 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9DD5444-D5D0-4D54-988D-E267209DDCCA}"/>
                </a:ext>
              </a:extLst>
            </p:cNvPr>
            <p:cNvSpPr txBox="1"/>
            <p:nvPr/>
          </p:nvSpPr>
          <p:spPr>
            <a:xfrm>
              <a:off x="4979579" y="1684686"/>
              <a:ext cx="1374974" cy="5843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/>
                  <a:cs typeface="Arial" pitchFamily="34" charset="0"/>
                </a:rPr>
                <a:t>VALIDATION OF </a:t>
              </a: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FOREIGN TRAINING PROGRAMMES 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D8DEF2B6-DBC3-4F46-962B-1828454156F9}"/>
              </a:ext>
            </a:extLst>
          </p:cNvPr>
          <p:cNvSpPr txBox="1"/>
          <p:nvPr/>
        </p:nvSpPr>
        <p:spPr>
          <a:xfrm>
            <a:off x="5566449" y="5551187"/>
            <a:ext cx="193005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General requir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92.02.1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AF1752A-9CE8-4D52-BB83-29A27EBEA44F}"/>
              </a:ext>
            </a:extLst>
          </p:cNvPr>
          <p:cNvSpPr txBox="1"/>
          <p:nvPr/>
        </p:nvSpPr>
        <p:spPr>
          <a:xfrm>
            <a:off x="7865686" y="5220766"/>
            <a:ext cx="13749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Training program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92.02.2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F8FF07-288F-40E4-BDD3-A9A222BBEAC0}"/>
              </a:ext>
            </a:extLst>
          </p:cNvPr>
          <p:cNvSpPr txBox="1"/>
          <p:nvPr/>
        </p:nvSpPr>
        <p:spPr>
          <a:xfrm>
            <a:off x="9940938" y="4723068"/>
            <a:ext cx="13749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Validation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92.02.4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92.02.5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28" name="Arc 59">
            <a:extLst>
              <a:ext uri="{FF2B5EF4-FFF2-40B4-BE49-F238E27FC236}">
                <a16:creationId xmlns:a16="http://schemas.microsoft.com/office/drawing/2014/main" id="{62280B5C-AB49-4696-8C67-E38EC738001F}"/>
              </a:ext>
            </a:extLst>
          </p:cNvPr>
          <p:cNvSpPr/>
          <p:nvPr/>
        </p:nvSpPr>
        <p:spPr>
          <a:xfrm>
            <a:off x="5681341" y="4641922"/>
            <a:ext cx="2274213" cy="777093"/>
          </a:xfrm>
          <a:prstGeom prst="arc">
            <a:avLst>
              <a:gd name="adj1" fmla="val 20633190"/>
              <a:gd name="adj2" fmla="val 9870224"/>
            </a:avLst>
          </a:prstGeom>
          <a:ln w="12700">
            <a:solidFill>
              <a:schemeClr val="tx1">
                <a:lumMod val="75000"/>
                <a:lumOff val="25000"/>
              </a:schemeClr>
            </a:solidFill>
            <a:prstDash val="dash"/>
            <a:headEnd type="triangl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9" name="Arc 59">
            <a:extLst>
              <a:ext uri="{FF2B5EF4-FFF2-40B4-BE49-F238E27FC236}">
                <a16:creationId xmlns:a16="http://schemas.microsoft.com/office/drawing/2014/main" id="{FEA9DA39-09F0-484A-A419-03A10F52A4EA}"/>
              </a:ext>
            </a:extLst>
          </p:cNvPr>
          <p:cNvSpPr/>
          <p:nvPr/>
        </p:nvSpPr>
        <p:spPr>
          <a:xfrm>
            <a:off x="7976370" y="3995857"/>
            <a:ext cx="2274213" cy="777093"/>
          </a:xfrm>
          <a:prstGeom prst="arc">
            <a:avLst>
              <a:gd name="adj1" fmla="val 20633190"/>
              <a:gd name="adj2" fmla="val 9870224"/>
            </a:avLst>
          </a:prstGeom>
          <a:ln w="12700">
            <a:solidFill>
              <a:schemeClr val="tx1">
                <a:lumMod val="75000"/>
                <a:lumOff val="25000"/>
              </a:schemeClr>
            </a:solidFill>
            <a:prstDash val="dash"/>
            <a:headEnd type="triangl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grpSp>
        <p:nvGrpSpPr>
          <p:cNvPr id="40" name="Document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FBA62DA-F032-8BA7-2DC2-A8A2B37B532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597516" y="4463205"/>
            <a:ext cx="274577" cy="360041"/>
            <a:chOff x="176" y="141"/>
            <a:chExt cx="151" cy="198"/>
          </a:xfrm>
          <a:solidFill>
            <a:schemeClr val="tx1"/>
          </a:solidFill>
        </p:grpSpPr>
        <p:sp>
          <p:nvSpPr>
            <p:cNvPr id="41" name="Document2">
              <a:extLst>
                <a:ext uri="{FF2B5EF4-FFF2-40B4-BE49-F238E27FC236}">
                  <a16:creationId xmlns:a16="http://schemas.microsoft.com/office/drawing/2014/main" id="{B1280E0C-42EE-320A-1FED-8D33F9D9513A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176" y="141"/>
              <a:ext cx="151" cy="198"/>
            </a:xfrm>
            <a:custGeom>
              <a:avLst/>
              <a:gdLst>
                <a:gd name="T0" fmla="*/ 388 w 401"/>
                <a:gd name="T1" fmla="*/ 525 h 525"/>
                <a:gd name="T2" fmla="*/ 13 w 401"/>
                <a:gd name="T3" fmla="*/ 525 h 525"/>
                <a:gd name="T4" fmla="*/ 0 w 401"/>
                <a:gd name="T5" fmla="*/ 512 h 525"/>
                <a:gd name="T6" fmla="*/ 0 w 401"/>
                <a:gd name="T7" fmla="*/ 12 h 525"/>
                <a:gd name="T8" fmla="*/ 13 w 401"/>
                <a:gd name="T9" fmla="*/ 0 h 525"/>
                <a:gd name="T10" fmla="*/ 388 w 401"/>
                <a:gd name="T11" fmla="*/ 0 h 525"/>
                <a:gd name="T12" fmla="*/ 401 w 401"/>
                <a:gd name="T13" fmla="*/ 12 h 525"/>
                <a:gd name="T14" fmla="*/ 401 w 401"/>
                <a:gd name="T15" fmla="*/ 512 h 525"/>
                <a:gd name="T16" fmla="*/ 388 w 401"/>
                <a:gd name="T17" fmla="*/ 525 h 525"/>
                <a:gd name="T18" fmla="*/ 25 w 401"/>
                <a:gd name="T19" fmla="*/ 500 h 525"/>
                <a:gd name="T20" fmla="*/ 376 w 401"/>
                <a:gd name="T21" fmla="*/ 500 h 525"/>
                <a:gd name="T22" fmla="*/ 376 w 401"/>
                <a:gd name="T23" fmla="*/ 25 h 525"/>
                <a:gd name="T24" fmla="*/ 25 w 401"/>
                <a:gd name="T25" fmla="*/ 25 h 525"/>
                <a:gd name="T26" fmla="*/ 25 w 401"/>
                <a:gd name="T27" fmla="*/ 50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1" h="525">
                  <a:moveTo>
                    <a:pt x="388" y="525"/>
                  </a:moveTo>
                  <a:lnTo>
                    <a:pt x="13" y="525"/>
                  </a:lnTo>
                  <a:cubicBezTo>
                    <a:pt x="5" y="525"/>
                    <a:pt x="0" y="520"/>
                    <a:pt x="0" y="512"/>
                  </a:cubicBezTo>
                  <a:lnTo>
                    <a:pt x="0" y="12"/>
                  </a:lnTo>
                  <a:cubicBezTo>
                    <a:pt x="0" y="5"/>
                    <a:pt x="5" y="0"/>
                    <a:pt x="13" y="0"/>
                  </a:cubicBezTo>
                  <a:lnTo>
                    <a:pt x="388" y="0"/>
                  </a:lnTo>
                  <a:cubicBezTo>
                    <a:pt x="395" y="0"/>
                    <a:pt x="401" y="5"/>
                    <a:pt x="401" y="12"/>
                  </a:cubicBezTo>
                  <a:lnTo>
                    <a:pt x="401" y="512"/>
                  </a:lnTo>
                  <a:cubicBezTo>
                    <a:pt x="401" y="520"/>
                    <a:pt x="394" y="525"/>
                    <a:pt x="388" y="525"/>
                  </a:cubicBezTo>
                  <a:close/>
                  <a:moveTo>
                    <a:pt x="25" y="500"/>
                  </a:moveTo>
                  <a:lnTo>
                    <a:pt x="376" y="500"/>
                  </a:lnTo>
                  <a:lnTo>
                    <a:pt x="376" y="25"/>
                  </a:lnTo>
                  <a:lnTo>
                    <a:pt x="25" y="25"/>
                  </a:lnTo>
                  <a:lnTo>
                    <a:pt x="25" y="500"/>
                  </a:lnTo>
                  <a:close/>
                </a:path>
              </a:pathLst>
            </a:custGeom>
            <a:grpFill/>
            <a:ln w="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Document2">
              <a:extLst>
                <a:ext uri="{FF2B5EF4-FFF2-40B4-BE49-F238E27FC236}">
                  <a16:creationId xmlns:a16="http://schemas.microsoft.com/office/drawing/2014/main" id="{1E379593-2EB8-5905-78C8-C4CBA50DFAFE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5" y="239"/>
              <a:ext cx="94" cy="9"/>
            </a:xfrm>
            <a:prstGeom prst="rect">
              <a:avLst/>
            </a:prstGeom>
            <a:grpFill/>
            <a:ln w="0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Document2">
              <a:extLst>
                <a:ext uri="{FF2B5EF4-FFF2-40B4-BE49-F238E27FC236}">
                  <a16:creationId xmlns:a16="http://schemas.microsoft.com/office/drawing/2014/main" id="{61F89747-E548-9085-1FB5-D7827DC5DDA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5" y="267"/>
              <a:ext cx="94" cy="9"/>
            </a:xfrm>
            <a:prstGeom prst="rect">
              <a:avLst/>
            </a:prstGeom>
            <a:grpFill/>
            <a:ln w="0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Document2">
              <a:extLst>
                <a:ext uri="{FF2B5EF4-FFF2-40B4-BE49-F238E27FC236}">
                  <a16:creationId xmlns:a16="http://schemas.microsoft.com/office/drawing/2014/main" id="{B45B74D9-C80A-5E1B-C7A5-D6F734A1D951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5" y="295"/>
              <a:ext cx="94" cy="10"/>
            </a:xfrm>
            <a:prstGeom prst="rect">
              <a:avLst/>
            </a:prstGeom>
            <a:grpFill/>
            <a:ln w="0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Document2">
              <a:extLst>
                <a:ext uri="{FF2B5EF4-FFF2-40B4-BE49-F238E27FC236}">
                  <a16:creationId xmlns:a16="http://schemas.microsoft.com/office/drawing/2014/main" id="{7AFC04CC-C609-2350-C6F3-244EBF158E70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2" y="182"/>
              <a:ext cx="47" cy="10"/>
            </a:xfrm>
            <a:prstGeom prst="rect">
              <a:avLst/>
            </a:prstGeom>
            <a:grpFill/>
            <a:ln w="0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Document2">
              <a:extLst>
                <a:ext uri="{FF2B5EF4-FFF2-40B4-BE49-F238E27FC236}">
                  <a16:creationId xmlns:a16="http://schemas.microsoft.com/office/drawing/2014/main" id="{61640525-DD04-3B65-6B32-5BA6B375E9E9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2" y="211"/>
              <a:ext cx="47" cy="9"/>
            </a:xfrm>
            <a:prstGeom prst="rect">
              <a:avLst/>
            </a:prstGeom>
            <a:grpFill/>
            <a:ln w="0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Document2">
              <a:extLst>
                <a:ext uri="{FF2B5EF4-FFF2-40B4-BE49-F238E27FC236}">
                  <a16:creationId xmlns:a16="http://schemas.microsoft.com/office/drawing/2014/main" id="{95EF094C-8E38-F5C7-A7C8-060CB8D96E2C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06" y="182"/>
              <a:ext cx="36" cy="37"/>
            </a:xfrm>
            <a:custGeom>
              <a:avLst/>
              <a:gdLst>
                <a:gd name="T0" fmla="*/ 49 w 98"/>
                <a:gd name="T1" fmla="*/ 97 h 97"/>
                <a:gd name="T2" fmla="*/ 49 w 98"/>
                <a:gd name="T3" fmla="*/ 97 h 97"/>
                <a:gd name="T4" fmla="*/ 0 w 98"/>
                <a:gd name="T5" fmla="*/ 48 h 97"/>
                <a:gd name="T6" fmla="*/ 0 w 98"/>
                <a:gd name="T7" fmla="*/ 48 h 97"/>
                <a:gd name="T8" fmla="*/ 49 w 98"/>
                <a:gd name="T9" fmla="*/ 0 h 97"/>
                <a:gd name="T10" fmla="*/ 49 w 98"/>
                <a:gd name="T11" fmla="*/ 0 h 97"/>
                <a:gd name="T12" fmla="*/ 98 w 98"/>
                <a:gd name="T13" fmla="*/ 48 h 97"/>
                <a:gd name="T14" fmla="*/ 98 w 98"/>
                <a:gd name="T15" fmla="*/ 48 h 97"/>
                <a:gd name="T16" fmla="*/ 49 w 98"/>
                <a:gd name="T1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97">
                  <a:moveTo>
                    <a:pt x="49" y="97"/>
                  </a:moveTo>
                  <a:lnTo>
                    <a:pt x="49" y="97"/>
                  </a:lnTo>
                  <a:cubicBezTo>
                    <a:pt x="22" y="97"/>
                    <a:pt x="0" y="75"/>
                    <a:pt x="0" y="48"/>
                  </a:cubicBezTo>
                  <a:lnTo>
                    <a:pt x="0" y="48"/>
                  </a:lnTo>
                  <a:cubicBezTo>
                    <a:pt x="0" y="21"/>
                    <a:pt x="23" y="0"/>
                    <a:pt x="49" y="0"/>
                  </a:cubicBezTo>
                  <a:lnTo>
                    <a:pt x="49" y="0"/>
                  </a:lnTo>
                  <a:cubicBezTo>
                    <a:pt x="77" y="0"/>
                    <a:pt x="98" y="22"/>
                    <a:pt x="98" y="48"/>
                  </a:cubicBezTo>
                  <a:lnTo>
                    <a:pt x="98" y="48"/>
                  </a:lnTo>
                  <a:cubicBezTo>
                    <a:pt x="98" y="76"/>
                    <a:pt x="77" y="97"/>
                    <a:pt x="49" y="97"/>
                  </a:cubicBezTo>
                  <a:close/>
                </a:path>
              </a:pathLst>
            </a:custGeom>
            <a:grpFill/>
            <a:ln w="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8" name="Contract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41A0521-8150-892F-073A-71E93D6DD768}"/>
              </a:ext>
            </a:extLst>
          </p:cNvPr>
          <p:cNvGrpSpPr>
            <a:grpSpLocks noChangeAspect="1"/>
          </p:cNvGrpSpPr>
          <p:nvPr/>
        </p:nvGrpSpPr>
        <p:grpSpPr>
          <a:xfrm>
            <a:off x="6675375" y="3661853"/>
            <a:ext cx="533754" cy="523220"/>
            <a:chOff x="6275388" y="3584575"/>
            <a:chExt cx="482600" cy="473075"/>
          </a:xfrm>
          <a:solidFill>
            <a:schemeClr val="tx1"/>
          </a:solidFill>
        </p:grpSpPr>
        <p:sp>
          <p:nvSpPr>
            <p:cNvPr id="49" name="Freeform 788">
              <a:extLst>
                <a:ext uri="{FF2B5EF4-FFF2-40B4-BE49-F238E27FC236}">
                  <a16:creationId xmlns:a16="http://schemas.microsoft.com/office/drawing/2014/main" id="{D7644598-EE0E-E29D-5245-4ABFAAA7E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5388" y="3584575"/>
              <a:ext cx="427038" cy="382588"/>
            </a:xfrm>
            <a:custGeom>
              <a:avLst/>
              <a:gdLst>
                <a:gd name="T0" fmla="*/ 1038 w 3346"/>
                <a:gd name="T1" fmla="*/ 2991 h 2991"/>
                <a:gd name="T2" fmla="*/ 1005 w 3346"/>
                <a:gd name="T3" fmla="*/ 2983 h 2991"/>
                <a:gd name="T4" fmla="*/ 50 w 3346"/>
                <a:gd name="T5" fmla="*/ 2485 h 2991"/>
                <a:gd name="T6" fmla="*/ 19 w 3346"/>
                <a:gd name="T7" fmla="*/ 2387 h 2991"/>
                <a:gd name="T8" fmla="*/ 1241 w 3346"/>
                <a:gd name="T9" fmla="*/ 41 h 2991"/>
                <a:gd name="T10" fmla="*/ 1284 w 3346"/>
                <a:gd name="T11" fmla="*/ 6 h 2991"/>
                <a:gd name="T12" fmla="*/ 1339 w 3346"/>
                <a:gd name="T13" fmla="*/ 10 h 2991"/>
                <a:gd name="T14" fmla="*/ 3296 w 3346"/>
                <a:gd name="T15" fmla="*/ 1030 h 2991"/>
                <a:gd name="T16" fmla="*/ 3327 w 3346"/>
                <a:gd name="T17" fmla="*/ 1128 h 2991"/>
                <a:gd name="T18" fmla="*/ 3097 w 3346"/>
                <a:gd name="T19" fmla="*/ 1570 h 2991"/>
                <a:gd name="T20" fmla="*/ 3000 w 3346"/>
                <a:gd name="T21" fmla="*/ 1601 h 2991"/>
                <a:gd name="T22" fmla="*/ 2969 w 3346"/>
                <a:gd name="T23" fmla="*/ 1503 h 2991"/>
                <a:gd name="T24" fmla="*/ 3165 w 3346"/>
                <a:gd name="T25" fmla="*/ 1125 h 2991"/>
                <a:gd name="T26" fmla="*/ 1336 w 3346"/>
                <a:gd name="T27" fmla="*/ 172 h 2991"/>
                <a:gd name="T28" fmla="*/ 181 w 3346"/>
                <a:gd name="T29" fmla="*/ 2390 h 2991"/>
                <a:gd name="T30" fmla="*/ 1072 w 3346"/>
                <a:gd name="T31" fmla="*/ 2854 h 2991"/>
                <a:gd name="T32" fmla="*/ 1102 w 3346"/>
                <a:gd name="T33" fmla="*/ 2952 h 2991"/>
                <a:gd name="T34" fmla="*/ 1038 w 3346"/>
                <a:gd name="T35" fmla="*/ 2991 h 2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46" h="2991">
                  <a:moveTo>
                    <a:pt x="1038" y="2991"/>
                  </a:moveTo>
                  <a:cubicBezTo>
                    <a:pt x="1027" y="2991"/>
                    <a:pt x="1015" y="2988"/>
                    <a:pt x="1005" y="2983"/>
                  </a:cubicBezTo>
                  <a:lnTo>
                    <a:pt x="50" y="2485"/>
                  </a:lnTo>
                  <a:cubicBezTo>
                    <a:pt x="14" y="2467"/>
                    <a:pt x="0" y="2423"/>
                    <a:pt x="19" y="2387"/>
                  </a:cubicBezTo>
                  <a:lnTo>
                    <a:pt x="1241" y="41"/>
                  </a:lnTo>
                  <a:cubicBezTo>
                    <a:pt x="1250" y="24"/>
                    <a:pt x="1266" y="11"/>
                    <a:pt x="1284" y="6"/>
                  </a:cubicBezTo>
                  <a:cubicBezTo>
                    <a:pt x="1302" y="0"/>
                    <a:pt x="1322" y="1"/>
                    <a:pt x="1339" y="10"/>
                  </a:cubicBezTo>
                  <a:lnTo>
                    <a:pt x="3296" y="1030"/>
                  </a:lnTo>
                  <a:cubicBezTo>
                    <a:pt x="3332" y="1049"/>
                    <a:pt x="3346" y="1093"/>
                    <a:pt x="3327" y="1128"/>
                  </a:cubicBezTo>
                  <a:lnTo>
                    <a:pt x="3097" y="1570"/>
                  </a:lnTo>
                  <a:cubicBezTo>
                    <a:pt x="3079" y="1605"/>
                    <a:pt x="3035" y="1619"/>
                    <a:pt x="3000" y="1601"/>
                  </a:cubicBezTo>
                  <a:cubicBezTo>
                    <a:pt x="2964" y="1582"/>
                    <a:pt x="2950" y="1538"/>
                    <a:pt x="2969" y="1503"/>
                  </a:cubicBezTo>
                  <a:lnTo>
                    <a:pt x="3165" y="1125"/>
                  </a:lnTo>
                  <a:lnTo>
                    <a:pt x="1336" y="172"/>
                  </a:lnTo>
                  <a:lnTo>
                    <a:pt x="181" y="2390"/>
                  </a:lnTo>
                  <a:lnTo>
                    <a:pt x="1072" y="2854"/>
                  </a:lnTo>
                  <a:cubicBezTo>
                    <a:pt x="1107" y="2873"/>
                    <a:pt x="1121" y="2916"/>
                    <a:pt x="1102" y="2952"/>
                  </a:cubicBezTo>
                  <a:cubicBezTo>
                    <a:pt x="1089" y="2977"/>
                    <a:pt x="1064" y="2991"/>
                    <a:pt x="1038" y="2991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789">
              <a:extLst>
                <a:ext uri="{FF2B5EF4-FFF2-40B4-BE49-F238E27FC236}">
                  <a16:creationId xmlns:a16="http://schemas.microsoft.com/office/drawing/2014/main" id="{3329B574-EFA3-006D-2368-DDFB7283A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7313" y="3817938"/>
              <a:ext cx="211138" cy="177800"/>
            </a:xfrm>
            <a:custGeom>
              <a:avLst/>
              <a:gdLst>
                <a:gd name="T0" fmla="*/ 207 w 1650"/>
                <a:gd name="T1" fmla="*/ 1397 h 1397"/>
                <a:gd name="T2" fmla="*/ 174 w 1650"/>
                <a:gd name="T3" fmla="*/ 1388 h 1397"/>
                <a:gd name="T4" fmla="*/ 49 w 1650"/>
                <a:gd name="T5" fmla="*/ 1323 h 1397"/>
                <a:gd name="T6" fmla="*/ 18 w 1650"/>
                <a:gd name="T7" fmla="*/ 1225 h 1397"/>
                <a:gd name="T8" fmla="*/ 116 w 1650"/>
                <a:gd name="T9" fmla="*/ 1194 h 1397"/>
                <a:gd name="T10" fmla="*/ 177 w 1650"/>
                <a:gd name="T11" fmla="*/ 1226 h 1397"/>
                <a:gd name="T12" fmla="*/ 467 w 1650"/>
                <a:gd name="T13" fmla="*/ 670 h 1397"/>
                <a:gd name="T14" fmla="*/ 509 w 1650"/>
                <a:gd name="T15" fmla="*/ 634 h 1397"/>
                <a:gd name="T16" fmla="*/ 565 w 1650"/>
                <a:gd name="T17" fmla="*/ 639 h 1397"/>
                <a:gd name="T18" fmla="*/ 1059 w 1650"/>
                <a:gd name="T19" fmla="*/ 900 h 1397"/>
                <a:gd name="T20" fmla="*/ 1503 w 1650"/>
                <a:gd name="T21" fmla="*/ 49 h 1397"/>
                <a:gd name="T22" fmla="*/ 1600 w 1650"/>
                <a:gd name="T23" fmla="*/ 18 h 1397"/>
                <a:gd name="T24" fmla="*/ 1631 w 1650"/>
                <a:gd name="T25" fmla="*/ 116 h 1397"/>
                <a:gd name="T26" fmla="*/ 1154 w 1650"/>
                <a:gd name="T27" fmla="*/ 1031 h 1397"/>
                <a:gd name="T28" fmla="*/ 1112 w 1650"/>
                <a:gd name="T29" fmla="*/ 1067 h 1397"/>
                <a:gd name="T30" fmla="*/ 1056 w 1650"/>
                <a:gd name="T31" fmla="*/ 1062 h 1397"/>
                <a:gd name="T32" fmla="*/ 561 w 1650"/>
                <a:gd name="T33" fmla="*/ 802 h 1397"/>
                <a:gd name="T34" fmla="*/ 272 w 1650"/>
                <a:gd name="T35" fmla="*/ 1357 h 1397"/>
                <a:gd name="T36" fmla="*/ 207 w 1650"/>
                <a:gd name="T37" fmla="*/ 1397 h 1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50" h="1397">
                  <a:moveTo>
                    <a:pt x="207" y="1397"/>
                  </a:moveTo>
                  <a:cubicBezTo>
                    <a:pt x="196" y="1397"/>
                    <a:pt x="185" y="1394"/>
                    <a:pt x="174" y="1388"/>
                  </a:cubicBezTo>
                  <a:lnTo>
                    <a:pt x="49" y="1323"/>
                  </a:lnTo>
                  <a:cubicBezTo>
                    <a:pt x="13" y="1304"/>
                    <a:pt x="0" y="1261"/>
                    <a:pt x="18" y="1225"/>
                  </a:cubicBezTo>
                  <a:cubicBezTo>
                    <a:pt x="37" y="1190"/>
                    <a:pt x="80" y="1176"/>
                    <a:pt x="116" y="1194"/>
                  </a:cubicBezTo>
                  <a:lnTo>
                    <a:pt x="177" y="1226"/>
                  </a:lnTo>
                  <a:lnTo>
                    <a:pt x="467" y="670"/>
                  </a:lnTo>
                  <a:cubicBezTo>
                    <a:pt x="476" y="653"/>
                    <a:pt x="491" y="640"/>
                    <a:pt x="509" y="634"/>
                  </a:cubicBezTo>
                  <a:cubicBezTo>
                    <a:pt x="528" y="629"/>
                    <a:pt x="548" y="630"/>
                    <a:pt x="565" y="639"/>
                  </a:cubicBezTo>
                  <a:lnTo>
                    <a:pt x="1059" y="900"/>
                  </a:lnTo>
                  <a:lnTo>
                    <a:pt x="1503" y="49"/>
                  </a:lnTo>
                  <a:cubicBezTo>
                    <a:pt x="1521" y="14"/>
                    <a:pt x="1565" y="0"/>
                    <a:pt x="1600" y="18"/>
                  </a:cubicBezTo>
                  <a:cubicBezTo>
                    <a:pt x="1636" y="37"/>
                    <a:pt x="1650" y="81"/>
                    <a:pt x="1631" y="116"/>
                  </a:cubicBezTo>
                  <a:lnTo>
                    <a:pt x="1154" y="1031"/>
                  </a:lnTo>
                  <a:cubicBezTo>
                    <a:pt x="1145" y="1048"/>
                    <a:pt x="1130" y="1061"/>
                    <a:pt x="1112" y="1067"/>
                  </a:cubicBezTo>
                  <a:cubicBezTo>
                    <a:pt x="1093" y="1073"/>
                    <a:pt x="1073" y="1071"/>
                    <a:pt x="1056" y="1062"/>
                  </a:cubicBezTo>
                  <a:lnTo>
                    <a:pt x="561" y="802"/>
                  </a:lnTo>
                  <a:lnTo>
                    <a:pt x="272" y="1357"/>
                  </a:lnTo>
                  <a:cubicBezTo>
                    <a:pt x="259" y="1382"/>
                    <a:pt x="234" y="1397"/>
                    <a:pt x="207" y="1397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790">
              <a:extLst>
                <a:ext uri="{FF2B5EF4-FFF2-40B4-BE49-F238E27FC236}">
                  <a16:creationId xmlns:a16="http://schemas.microsoft.com/office/drawing/2014/main" id="{2F48CCE0-60DD-E73F-35CB-178642E47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538" y="3938588"/>
              <a:ext cx="122238" cy="57150"/>
            </a:xfrm>
            <a:custGeom>
              <a:avLst/>
              <a:gdLst>
                <a:gd name="T0" fmla="*/ 82 w 959"/>
                <a:gd name="T1" fmla="*/ 451 h 451"/>
                <a:gd name="T2" fmla="*/ 14 w 959"/>
                <a:gd name="T3" fmla="*/ 404 h 451"/>
                <a:gd name="T4" fmla="*/ 56 w 959"/>
                <a:gd name="T5" fmla="*/ 310 h 451"/>
                <a:gd name="T6" fmla="*/ 852 w 959"/>
                <a:gd name="T7" fmla="*/ 14 h 451"/>
                <a:gd name="T8" fmla="*/ 945 w 959"/>
                <a:gd name="T9" fmla="*/ 57 h 451"/>
                <a:gd name="T10" fmla="*/ 903 w 959"/>
                <a:gd name="T11" fmla="*/ 150 h 451"/>
                <a:gd name="T12" fmla="*/ 107 w 959"/>
                <a:gd name="T13" fmla="*/ 446 h 451"/>
                <a:gd name="T14" fmla="*/ 82 w 959"/>
                <a:gd name="T15" fmla="*/ 451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9" h="451">
                  <a:moveTo>
                    <a:pt x="82" y="451"/>
                  </a:moveTo>
                  <a:cubicBezTo>
                    <a:pt x="52" y="451"/>
                    <a:pt x="25" y="433"/>
                    <a:pt x="14" y="404"/>
                  </a:cubicBezTo>
                  <a:cubicBezTo>
                    <a:pt x="0" y="366"/>
                    <a:pt x="19" y="324"/>
                    <a:pt x="56" y="310"/>
                  </a:cubicBezTo>
                  <a:lnTo>
                    <a:pt x="852" y="14"/>
                  </a:lnTo>
                  <a:cubicBezTo>
                    <a:pt x="890" y="0"/>
                    <a:pt x="932" y="19"/>
                    <a:pt x="945" y="57"/>
                  </a:cubicBezTo>
                  <a:cubicBezTo>
                    <a:pt x="959" y="94"/>
                    <a:pt x="940" y="136"/>
                    <a:pt x="903" y="150"/>
                  </a:cubicBezTo>
                  <a:lnTo>
                    <a:pt x="107" y="446"/>
                  </a:lnTo>
                  <a:cubicBezTo>
                    <a:pt x="99" y="449"/>
                    <a:pt x="90" y="451"/>
                    <a:pt x="82" y="451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791">
              <a:extLst>
                <a:ext uri="{FF2B5EF4-FFF2-40B4-BE49-F238E27FC236}">
                  <a16:creationId xmlns:a16="http://schemas.microsoft.com/office/drawing/2014/main" id="{E392DDDA-BB6D-5693-E29D-F02E66BDE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3025" y="3790950"/>
              <a:ext cx="138113" cy="79375"/>
            </a:xfrm>
            <a:custGeom>
              <a:avLst/>
              <a:gdLst>
                <a:gd name="T0" fmla="*/ 993 w 1075"/>
                <a:gd name="T1" fmla="*/ 629 h 629"/>
                <a:gd name="T2" fmla="*/ 959 w 1075"/>
                <a:gd name="T3" fmla="*/ 621 h 629"/>
                <a:gd name="T4" fmla="*/ 50 w 1075"/>
                <a:gd name="T5" fmla="*/ 147 h 629"/>
                <a:gd name="T6" fmla="*/ 19 w 1075"/>
                <a:gd name="T7" fmla="*/ 49 h 629"/>
                <a:gd name="T8" fmla="*/ 117 w 1075"/>
                <a:gd name="T9" fmla="*/ 19 h 629"/>
                <a:gd name="T10" fmla="*/ 1026 w 1075"/>
                <a:gd name="T11" fmla="*/ 492 h 629"/>
                <a:gd name="T12" fmla="*/ 1057 w 1075"/>
                <a:gd name="T13" fmla="*/ 590 h 629"/>
                <a:gd name="T14" fmla="*/ 993 w 1075"/>
                <a:gd name="T15" fmla="*/ 629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5" h="629">
                  <a:moveTo>
                    <a:pt x="993" y="629"/>
                  </a:moveTo>
                  <a:cubicBezTo>
                    <a:pt x="981" y="629"/>
                    <a:pt x="970" y="627"/>
                    <a:pt x="959" y="621"/>
                  </a:cubicBezTo>
                  <a:lnTo>
                    <a:pt x="50" y="147"/>
                  </a:lnTo>
                  <a:cubicBezTo>
                    <a:pt x="14" y="128"/>
                    <a:pt x="0" y="85"/>
                    <a:pt x="19" y="49"/>
                  </a:cubicBezTo>
                  <a:cubicBezTo>
                    <a:pt x="37" y="14"/>
                    <a:pt x="81" y="0"/>
                    <a:pt x="117" y="19"/>
                  </a:cubicBezTo>
                  <a:lnTo>
                    <a:pt x="1026" y="492"/>
                  </a:lnTo>
                  <a:cubicBezTo>
                    <a:pt x="1061" y="511"/>
                    <a:pt x="1075" y="555"/>
                    <a:pt x="1057" y="590"/>
                  </a:cubicBezTo>
                  <a:cubicBezTo>
                    <a:pt x="1044" y="615"/>
                    <a:pt x="1019" y="629"/>
                    <a:pt x="993" y="629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792">
              <a:extLst>
                <a:ext uri="{FF2B5EF4-FFF2-40B4-BE49-F238E27FC236}">
                  <a16:creationId xmlns:a16="http://schemas.microsoft.com/office/drawing/2014/main" id="{CFAE49D8-BA4E-D4F8-CB84-730919598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7313" y="3762375"/>
              <a:ext cx="138113" cy="80963"/>
            </a:xfrm>
            <a:custGeom>
              <a:avLst/>
              <a:gdLst>
                <a:gd name="T0" fmla="*/ 993 w 1076"/>
                <a:gd name="T1" fmla="*/ 630 h 630"/>
                <a:gd name="T2" fmla="*/ 959 w 1076"/>
                <a:gd name="T3" fmla="*/ 622 h 630"/>
                <a:gd name="T4" fmla="*/ 50 w 1076"/>
                <a:gd name="T5" fmla="*/ 148 h 630"/>
                <a:gd name="T6" fmla="*/ 19 w 1076"/>
                <a:gd name="T7" fmla="*/ 50 h 630"/>
                <a:gd name="T8" fmla="*/ 117 w 1076"/>
                <a:gd name="T9" fmla="*/ 19 h 630"/>
                <a:gd name="T10" fmla="*/ 1026 w 1076"/>
                <a:gd name="T11" fmla="*/ 493 h 630"/>
                <a:gd name="T12" fmla="*/ 1057 w 1076"/>
                <a:gd name="T13" fmla="*/ 591 h 630"/>
                <a:gd name="T14" fmla="*/ 993 w 1076"/>
                <a:gd name="T15" fmla="*/ 630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6" h="630">
                  <a:moveTo>
                    <a:pt x="993" y="630"/>
                  </a:moveTo>
                  <a:cubicBezTo>
                    <a:pt x="981" y="630"/>
                    <a:pt x="970" y="627"/>
                    <a:pt x="959" y="622"/>
                  </a:cubicBezTo>
                  <a:lnTo>
                    <a:pt x="50" y="148"/>
                  </a:lnTo>
                  <a:cubicBezTo>
                    <a:pt x="14" y="129"/>
                    <a:pt x="0" y="85"/>
                    <a:pt x="19" y="50"/>
                  </a:cubicBezTo>
                  <a:cubicBezTo>
                    <a:pt x="38" y="14"/>
                    <a:pt x="81" y="0"/>
                    <a:pt x="117" y="19"/>
                  </a:cubicBezTo>
                  <a:lnTo>
                    <a:pt x="1026" y="493"/>
                  </a:lnTo>
                  <a:cubicBezTo>
                    <a:pt x="1062" y="512"/>
                    <a:pt x="1076" y="555"/>
                    <a:pt x="1057" y="591"/>
                  </a:cubicBezTo>
                  <a:cubicBezTo>
                    <a:pt x="1044" y="616"/>
                    <a:pt x="1019" y="630"/>
                    <a:pt x="993" y="630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793">
              <a:extLst>
                <a:ext uri="{FF2B5EF4-FFF2-40B4-BE49-F238E27FC236}">
                  <a16:creationId xmlns:a16="http://schemas.microsoft.com/office/drawing/2014/main" id="{343160CD-D4DE-D544-594B-E4E592208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5088" y="3821113"/>
              <a:ext cx="131763" cy="77788"/>
            </a:xfrm>
            <a:custGeom>
              <a:avLst/>
              <a:gdLst>
                <a:gd name="T0" fmla="*/ 943 w 1026"/>
                <a:gd name="T1" fmla="*/ 610 h 610"/>
                <a:gd name="T2" fmla="*/ 909 w 1026"/>
                <a:gd name="T3" fmla="*/ 602 h 610"/>
                <a:gd name="T4" fmla="*/ 0 w 1026"/>
                <a:gd name="T5" fmla="*/ 128 h 610"/>
                <a:gd name="T6" fmla="*/ 67 w 1026"/>
                <a:gd name="T7" fmla="*/ 0 h 610"/>
                <a:gd name="T8" fmla="*/ 976 w 1026"/>
                <a:gd name="T9" fmla="*/ 474 h 610"/>
                <a:gd name="T10" fmla="*/ 1007 w 1026"/>
                <a:gd name="T11" fmla="*/ 571 h 610"/>
                <a:gd name="T12" fmla="*/ 943 w 1026"/>
                <a:gd name="T13" fmla="*/ 610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6" h="610">
                  <a:moveTo>
                    <a:pt x="943" y="610"/>
                  </a:moveTo>
                  <a:cubicBezTo>
                    <a:pt x="931" y="610"/>
                    <a:pt x="920" y="608"/>
                    <a:pt x="909" y="602"/>
                  </a:cubicBezTo>
                  <a:cubicBezTo>
                    <a:pt x="741" y="515"/>
                    <a:pt x="0" y="128"/>
                    <a:pt x="0" y="128"/>
                  </a:cubicBezTo>
                  <a:lnTo>
                    <a:pt x="67" y="0"/>
                  </a:lnTo>
                  <a:cubicBezTo>
                    <a:pt x="67" y="0"/>
                    <a:pt x="808" y="386"/>
                    <a:pt x="976" y="474"/>
                  </a:cubicBezTo>
                  <a:cubicBezTo>
                    <a:pt x="1012" y="492"/>
                    <a:pt x="1026" y="536"/>
                    <a:pt x="1007" y="571"/>
                  </a:cubicBezTo>
                  <a:cubicBezTo>
                    <a:pt x="994" y="596"/>
                    <a:pt x="969" y="610"/>
                    <a:pt x="943" y="610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794">
              <a:extLst>
                <a:ext uri="{FF2B5EF4-FFF2-40B4-BE49-F238E27FC236}">
                  <a16:creationId xmlns:a16="http://schemas.microsoft.com/office/drawing/2014/main" id="{CD6298D0-E311-0D2B-A7A3-FB5F5F985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4450" y="3846513"/>
              <a:ext cx="98425" cy="60325"/>
            </a:xfrm>
            <a:custGeom>
              <a:avLst/>
              <a:gdLst>
                <a:gd name="T0" fmla="*/ 689 w 772"/>
                <a:gd name="T1" fmla="*/ 471 h 471"/>
                <a:gd name="T2" fmla="*/ 656 w 772"/>
                <a:gd name="T3" fmla="*/ 463 h 471"/>
                <a:gd name="T4" fmla="*/ 49 w 772"/>
                <a:gd name="T5" fmla="*/ 147 h 471"/>
                <a:gd name="T6" fmla="*/ 19 w 772"/>
                <a:gd name="T7" fmla="*/ 49 h 471"/>
                <a:gd name="T8" fmla="*/ 117 w 772"/>
                <a:gd name="T9" fmla="*/ 18 h 471"/>
                <a:gd name="T10" fmla="*/ 723 w 772"/>
                <a:gd name="T11" fmla="*/ 334 h 471"/>
                <a:gd name="T12" fmla="*/ 754 w 772"/>
                <a:gd name="T13" fmla="*/ 432 h 471"/>
                <a:gd name="T14" fmla="*/ 689 w 772"/>
                <a:gd name="T15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2" h="471">
                  <a:moveTo>
                    <a:pt x="689" y="471"/>
                  </a:moveTo>
                  <a:cubicBezTo>
                    <a:pt x="678" y="471"/>
                    <a:pt x="667" y="468"/>
                    <a:pt x="656" y="463"/>
                  </a:cubicBezTo>
                  <a:lnTo>
                    <a:pt x="49" y="147"/>
                  </a:lnTo>
                  <a:cubicBezTo>
                    <a:pt x="14" y="128"/>
                    <a:pt x="0" y="84"/>
                    <a:pt x="19" y="49"/>
                  </a:cubicBezTo>
                  <a:cubicBezTo>
                    <a:pt x="37" y="13"/>
                    <a:pt x="81" y="0"/>
                    <a:pt x="117" y="18"/>
                  </a:cubicBezTo>
                  <a:lnTo>
                    <a:pt x="723" y="334"/>
                  </a:lnTo>
                  <a:cubicBezTo>
                    <a:pt x="758" y="353"/>
                    <a:pt x="772" y="396"/>
                    <a:pt x="754" y="432"/>
                  </a:cubicBezTo>
                  <a:cubicBezTo>
                    <a:pt x="741" y="457"/>
                    <a:pt x="715" y="471"/>
                    <a:pt x="689" y="471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795">
              <a:extLst>
                <a:ext uri="{FF2B5EF4-FFF2-40B4-BE49-F238E27FC236}">
                  <a16:creationId xmlns:a16="http://schemas.microsoft.com/office/drawing/2014/main" id="{4FFCC0F0-73EC-BB89-2B95-66722B3E3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6675" y="3749675"/>
              <a:ext cx="20638" cy="20638"/>
            </a:xfrm>
            <a:custGeom>
              <a:avLst/>
              <a:gdLst>
                <a:gd name="T0" fmla="*/ 90 w 173"/>
                <a:gd name="T1" fmla="*/ 160 h 160"/>
                <a:gd name="T2" fmla="*/ 57 w 173"/>
                <a:gd name="T3" fmla="*/ 152 h 160"/>
                <a:gd name="T4" fmla="*/ 49 w 173"/>
                <a:gd name="T5" fmla="*/ 147 h 160"/>
                <a:gd name="T6" fmla="*/ 18 w 173"/>
                <a:gd name="T7" fmla="*/ 50 h 160"/>
                <a:gd name="T8" fmla="*/ 116 w 173"/>
                <a:gd name="T9" fmla="*/ 19 h 160"/>
                <a:gd name="T10" fmla="*/ 124 w 173"/>
                <a:gd name="T11" fmla="*/ 23 h 160"/>
                <a:gd name="T12" fmla="*/ 155 w 173"/>
                <a:gd name="T13" fmla="*/ 121 h 160"/>
                <a:gd name="T14" fmla="*/ 90 w 173"/>
                <a:gd name="T15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" h="160">
                  <a:moveTo>
                    <a:pt x="90" y="160"/>
                  </a:moveTo>
                  <a:cubicBezTo>
                    <a:pt x="79" y="160"/>
                    <a:pt x="68" y="158"/>
                    <a:pt x="57" y="152"/>
                  </a:cubicBezTo>
                  <a:lnTo>
                    <a:pt x="49" y="147"/>
                  </a:lnTo>
                  <a:cubicBezTo>
                    <a:pt x="13" y="129"/>
                    <a:pt x="0" y="85"/>
                    <a:pt x="18" y="50"/>
                  </a:cubicBezTo>
                  <a:cubicBezTo>
                    <a:pt x="36" y="14"/>
                    <a:pt x="80" y="0"/>
                    <a:pt x="116" y="19"/>
                  </a:cubicBezTo>
                  <a:lnTo>
                    <a:pt x="124" y="23"/>
                  </a:lnTo>
                  <a:cubicBezTo>
                    <a:pt x="160" y="42"/>
                    <a:pt x="173" y="86"/>
                    <a:pt x="155" y="121"/>
                  </a:cubicBezTo>
                  <a:cubicBezTo>
                    <a:pt x="142" y="146"/>
                    <a:pt x="117" y="160"/>
                    <a:pt x="90" y="160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796">
              <a:extLst>
                <a:ext uri="{FF2B5EF4-FFF2-40B4-BE49-F238E27FC236}">
                  <a16:creationId xmlns:a16="http://schemas.microsoft.com/office/drawing/2014/main" id="{1A01AA10-AED7-3B42-C377-DF5389876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0800" y="3778250"/>
              <a:ext cx="22225" cy="20638"/>
            </a:xfrm>
            <a:custGeom>
              <a:avLst/>
              <a:gdLst>
                <a:gd name="T0" fmla="*/ 92 w 174"/>
                <a:gd name="T1" fmla="*/ 160 h 160"/>
                <a:gd name="T2" fmla="*/ 58 w 174"/>
                <a:gd name="T3" fmla="*/ 152 h 160"/>
                <a:gd name="T4" fmla="*/ 50 w 174"/>
                <a:gd name="T5" fmla="*/ 147 h 160"/>
                <a:gd name="T6" fmla="*/ 19 w 174"/>
                <a:gd name="T7" fmla="*/ 49 h 160"/>
                <a:gd name="T8" fmla="*/ 117 w 174"/>
                <a:gd name="T9" fmla="*/ 19 h 160"/>
                <a:gd name="T10" fmla="*/ 125 w 174"/>
                <a:gd name="T11" fmla="*/ 23 h 160"/>
                <a:gd name="T12" fmla="*/ 156 w 174"/>
                <a:gd name="T13" fmla="*/ 121 h 160"/>
                <a:gd name="T14" fmla="*/ 92 w 174"/>
                <a:gd name="T15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4" h="160">
                  <a:moveTo>
                    <a:pt x="92" y="160"/>
                  </a:moveTo>
                  <a:cubicBezTo>
                    <a:pt x="80" y="160"/>
                    <a:pt x="69" y="157"/>
                    <a:pt x="58" y="152"/>
                  </a:cubicBezTo>
                  <a:lnTo>
                    <a:pt x="50" y="147"/>
                  </a:lnTo>
                  <a:cubicBezTo>
                    <a:pt x="14" y="129"/>
                    <a:pt x="0" y="85"/>
                    <a:pt x="19" y="49"/>
                  </a:cubicBezTo>
                  <a:cubicBezTo>
                    <a:pt x="37" y="14"/>
                    <a:pt x="81" y="0"/>
                    <a:pt x="117" y="19"/>
                  </a:cubicBezTo>
                  <a:lnTo>
                    <a:pt x="125" y="23"/>
                  </a:lnTo>
                  <a:cubicBezTo>
                    <a:pt x="161" y="42"/>
                    <a:pt x="174" y="85"/>
                    <a:pt x="156" y="121"/>
                  </a:cubicBezTo>
                  <a:cubicBezTo>
                    <a:pt x="143" y="146"/>
                    <a:pt x="118" y="160"/>
                    <a:pt x="92" y="160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797">
              <a:extLst>
                <a:ext uri="{FF2B5EF4-FFF2-40B4-BE49-F238E27FC236}">
                  <a16:creationId xmlns:a16="http://schemas.microsoft.com/office/drawing/2014/main" id="{E98ADE71-C5DC-077B-B22E-3EBA4C687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13" y="3806825"/>
              <a:ext cx="22225" cy="19050"/>
            </a:xfrm>
            <a:custGeom>
              <a:avLst/>
              <a:gdLst>
                <a:gd name="T0" fmla="*/ 92 w 174"/>
                <a:gd name="T1" fmla="*/ 159 h 159"/>
                <a:gd name="T2" fmla="*/ 58 w 174"/>
                <a:gd name="T3" fmla="*/ 151 h 159"/>
                <a:gd name="T4" fmla="*/ 50 w 174"/>
                <a:gd name="T5" fmla="*/ 147 h 159"/>
                <a:gd name="T6" fmla="*/ 19 w 174"/>
                <a:gd name="T7" fmla="*/ 49 h 159"/>
                <a:gd name="T8" fmla="*/ 116 w 174"/>
                <a:gd name="T9" fmla="*/ 18 h 159"/>
                <a:gd name="T10" fmla="*/ 125 w 174"/>
                <a:gd name="T11" fmla="*/ 23 h 159"/>
                <a:gd name="T12" fmla="*/ 156 w 174"/>
                <a:gd name="T13" fmla="*/ 120 h 159"/>
                <a:gd name="T14" fmla="*/ 92 w 174"/>
                <a:gd name="T15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4" h="159">
                  <a:moveTo>
                    <a:pt x="92" y="159"/>
                  </a:moveTo>
                  <a:cubicBezTo>
                    <a:pt x="80" y="159"/>
                    <a:pt x="69" y="157"/>
                    <a:pt x="58" y="151"/>
                  </a:cubicBezTo>
                  <a:lnTo>
                    <a:pt x="50" y="147"/>
                  </a:lnTo>
                  <a:cubicBezTo>
                    <a:pt x="14" y="129"/>
                    <a:pt x="0" y="85"/>
                    <a:pt x="19" y="49"/>
                  </a:cubicBezTo>
                  <a:cubicBezTo>
                    <a:pt x="37" y="14"/>
                    <a:pt x="81" y="0"/>
                    <a:pt x="116" y="18"/>
                  </a:cubicBezTo>
                  <a:lnTo>
                    <a:pt x="125" y="23"/>
                  </a:lnTo>
                  <a:cubicBezTo>
                    <a:pt x="160" y="41"/>
                    <a:pt x="174" y="85"/>
                    <a:pt x="156" y="120"/>
                  </a:cubicBezTo>
                  <a:cubicBezTo>
                    <a:pt x="143" y="145"/>
                    <a:pt x="118" y="159"/>
                    <a:pt x="92" y="159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798">
              <a:extLst>
                <a:ext uri="{FF2B5EF4-FFF2-40B4-BE49-F238E27FC236}">
                  <a16:creationId xmlns:a16="http://schemas.microsoft.com/office/drawing/2014/main" id="{F029EB19-3A85-7302-FD63-F3B11522A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2225" y="3835400"/>
              <a:ext cx="22225" cy="20638"/>
            </a:xfrm>
            <a:custGeom>
              <a:avLst/>
              <a:gdLst>
                <a:gd name="T0" fmla="*/ 91 w 174"/>
                <a:gd name="T1" fmla="*/ 159 h 159"/>
                <a:gd name="T2" fmla="*/ 58 w 174"/>
                <a:gd name="T3" fmla="*/ 151 h 159"/>
                <a:gd name="T4" fmla="*/ 50 w 174"/>
                <a:gd name="T5" fmla="*/ 147 h 159"/>
                <a:gd name="T6" fmla="*/ 19 w 174"/>
                <a:gd name="T7" fmla="*/ 49 h 159"/>
                <a:gd name="T8" fmla="*/ 117 w 174"/>
                <a:gd name="T9" fmla="*/ 18 h 159"/>
                <a:gd name="T10" fmla="*/ 125 w 174"/>
                <a:gd name="T11" fmla="*/ 22 h 159"/>
                <a:gd name="T12" fmla="*/ 156 w 174"/>
                <a:gd name="T13" fmla="*/ 120 h 159"/>
                <a:gd name="T14" fmla="*/ 91 w 174"/>
                <a:gd name="T15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4" h="159">
                  <a:moveTo>
                    <a:pt x="91" y="159"/>
                  </a:moveTo>
                  <a:cubicBezTo>
                    <a:pt x="80" y="159"/>
                    <a:pt x="69" y="157"/>
                    <a:pt x="58" y="151"/>
                  </a:cubicBezTo>
                  <a:lnTo>
                    <a:pt x="50" y="147"/>
                  </a:lnTo>
                  <a:cubicBezTo>
                    <a:pt x="14" y="128"/>
                    <a:pt x="0" y="85"/>
                    <a:pt x="19" y="49"/>
                  </a:cubicBezTo>
                  <a:cubicBezTo>
                    <a:pt x="37" y="13"/>
                    <a:pt x="81" y="0"/>
                    <a:pt x="117" y="18"/>
                  </a:cubicBezTo>
                  <a:lnTo>
                    <a:pt x="125" y="22"/>
                  </a:lnTo>
                  <a:cubicBezTo>
                    <a:pt x="160" y="41"/>
                    <a:pt x="174" y="85"/>
                    <a:pt x="156" y="120"/>
                  </a:cubicBezTo>
                  <a:cubicBezTo>
                    <a:pt x="143" y="145"/>
                    <a:pt x="118" y="159"/>
                    <a:pt x="91" y="159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799">
              <a:extLst>
                <a:ext uri="{FF2B5EF4-FFF2-40B4-BE49-F238E27FC236}">
                  <a16:creationId xmlns:a16="http://schemas.microsoft.com/office/drawing/2014/main" id="{B06B00CF-E949-A83B-BAA9-61EF5BFA0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5088" y="3956050"/>
              <a:ext cx="22225" cy="20638"/>
            </a:xfrm>
            <a:custGeom>
              <a:avLst/>
              <a:gdLst>
                <a:gd name="T0" fmla="*/ 91 w 174"/>
                <a:gd name="T1" fmla="*/ 159 h 159"/>
                <a:gd name="T2" fmla="*/ 57 w 174"/>
                <a:gd name="T3" fmla="*/ 151 h 159"/>
                <a:gd name="T4" fmla="*/ 49 w 174"/>
                <a:gd name="T5" fmla="*/ 147 h 159"/>
                <a:gd name="T6" fmla="*/ 18 w 174"/>
                <a:gd name="T7" fmla="*/ 49 h 159"/>
                <a:gd name="T8" fmla="*/ 116 w 174"/>
                <a:gd name="T9" fmla="*/ 18 h 159"/>
                <a:gd name="T10" fmla="*/ 124 w 174"/>
                <a:gd name="T11" fmla="*/ 23 h 159"/>
                <a:gd name="T12" fmla="*/ 155 w 174"/>
                <a:gd name="T13" fmla="*/ 120 h 159"/>
                <a:gd name="T14" fmla="*/ 91 w 174"/>
                <a:gd name="T15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4" h="159">
                  <a:moveTo>
                    <a:pt x="91" y="159"/>
                  </a:moveTo>
                  <a:cubicBezTo>
                    <a:pt x="79" y="159"/>
                    <a:pt x="68" y="157"/>
                    <a:pt x="57" y="151"/>
                  </a:cubicBezTo>
                  <a:lnTo>
                    <a:pt x="49" y="147"/>
                  </a:lnTo>
                  <a:cubicBezTo>
                    <a:pt x="13" y="128"/>
                    <a:pt x="0" y="84"/>
                    <a:pt x="18" y="49"/>
                  </a:cubicBezTo>
                  <a:cubicBezTo>
                    <a:pt x="37" y="14"/>
                    <a:pt x="81" y="0"/>
                    <a:pt x="116" y="18"/>
                  </a:cubicBezTo>
                  <a:lnTo>
                    <a:pt x="124" y="23"/>
                  </a:lnTo>
                  <a:cubicBezTo>
                    <a:pt x="160" y="41"/>
                    <a:pt x="174" y="85"/>
                    <a:pt x="155" y="120"/>
                  </a:cubicBezTo>
                  <a:cubicBezTo>
                    <a:pt x="142" y="145"/>
                    <a:pt x="117" y="159"/>
                    <a:pt x="91" y="159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800">
              <a:extLst>
                <a:ext uri="{FF2B5EF4-FFF2-40B4-BE49-F238E27FC236}">
                  <a16:creationId xmlns:a16="http://schemas.microsoft.com/office/drawing/2014/main" id="{91EC74F9-00EF-D335-BD3E-3564F9CC3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513" y="3790950"/>
              <a:ext cx="20638" cy="20638"/>
            </a:xfrm>
            <a:custGeom>
              <a:avLst/>
              <a:gdLst>
                <a:gd name="T0" fmla="*/ 83 w 170"/>
                <a:gd name="T1" fmla="*/ 164 h 164"/>
                <a:gd name="T2" fmla="*/ 49 w 170"/>
                <a:gd name="T3" fmla="*/ 156 h 164"/>
                <a:gd name="T4" fmla="*/ 19 w 170"/>
                <a:gd name="T5" fmla="*/ 58 h 164"/>
                <a:gd name="T6" fmla="*/ 23 w 170"/>
                <a:gd name="T7" fmla="*/ 49 h 164"/>
                <a:gd name="T8" fmla="*/ 121 w 170"/>
                <a:gd name="T9" fmla="*/ 19 h 164"/>
                <a:gd name="T10" fmla="*/ 151 w 170"/>
                <a:gd name="T11" fmla="*/ 116 h 164"/>
                <a:gd name="T12" fmla="*/ 147 w 170"/>
                <a:gd name="T13" fmla="*/ 125 h 164"/>
                <a:gd name="T14" fmla="*/ 83 w 170"/>
                <a:gd name="T15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0" h="164">
                  <a:moveTo>
                    <a:pt x="83" y="164"/>
                  </a:moveTo>
                  <a:cubicBezTo>
                    <a:pt x="71" y="164"/>
                    <a:pt x="60" y="161"/>
                    <a:pt x="49" y="156"/>
                  </a:cubicBezTo>
                  <a:cubicBezTo>
                    <a:pt x="14" y="137"/>
                    <a:pt x="0" y="93"/>
                    <a:pt x="19" y="58"/>
                  </a:cubicBezTo>
                  <a:lnTo>
                    <a:pt x="23" y="49"/>
                  </a:lnTo>
                  <a:cubicBezTo>
                    <a:pt x="41" y="14"/>
                    <a:pt x="85" y="0"/>
                    <a:pt x="121" y="19"/>
                  </a:cubicBezTo>
                  <a:cubicBezTo>
                    <a:pt x="156" y="37"/>
                    <a:pt x="170" y="81"/>
                    <a:pt x="151" y="116"/>
                  </a:cubicBezTo>
                  <a:lnTo>
                    <a:pt x="147" y="125"/>
                  </a:lnTo>
                  <a:cubicBezTo>
                    <a:pt x="134" y="150"/>
                    <a:pt x="109" y="164"/>
                    <a:pt x="83" y="164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801">
              <a:extLst>
                <a:ext uri="{FF2B5EF4-FFF2-40B4-BE49-F238E27FC236}">
                  <a16:creationId xmlns:a16="http://schemas.microsoft.com/office/drawing/2014/main" id="{6D9E9225-6234-E016-9504-7FE1B963C3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3663" y="3673475"/>
              <a:ext cx="174625" cy="119063"/>
            </a:xfrm>
            <a:custGeom>
              <a:avLst/>
              <a:gdLst>
                <a:gd name="T0" fmla="*/ 173 w 1367"/>
                <a:gd name="T1" fmla="*/ 241 h 923"/>
                <a:gd name="T2" fmla="*/ 1155 w 1367"/>
                <a:gd name="T3" fmla="*/ 753 h 923"/>
                <a:gd name="T4" fmla="*/ 1186 w 1367"/>
                <a:gd name="T5" fmla="*/ 693 h 923"/>
                <a:gd name="T6" fmla="*/ 204 w 1367"/>
                <a:gd name="T7" fmla="*/ 181 h 923"/>
                <a:gd name="T8" fmla="*/ 173 w 1367"/>
                <a:gd name="T9" fmla="*/ 241 h 923"/>
                <a:gd name="T10" fmla="*/ 1186 w 1367"/>
                <a:gd name="T11" fmla="*/ 923 h 923"/>
                <a:gd name="T12" fmla="*/ 1152 w 1367"/>
                <a:gd name="T13" fmla="*/ 915 h 923"/>
                <a:gd name="T14" fmla="*/ 42 w 1367"/>
                <a:gd name="T15" fmla="*/ 336 h 923"/>
                <a:gd name="T16" fmla="*/ 6 w 1367"/>
                <a:gd name="T17" fmla="*/ 293 h 923"/>
                <a:gd name="T18" fmla="*/ 11 w 1367"/>
                <a:gd name="T19" fmla="*/ 238 h 923"/>
                <a:gd name="T20" fmla="*/ 109 w 1367"/>
                <a:gd name="T21" fmla="*/ 50 h 923"/>
                <a:gd name="T22" fmla="*/ 207 w 1367"/>
                <a:gd name="T23" fmla="*/ 19 h 923"/>
                <a:gd name="T24" fmla="*/ 1317 w 1367"/>
                <a:gd name="T25" fmla="*/ 598 h 923"/>
                <a:gd name="T26" fmla="*/ 1348 w 1367"/>
                <a:gd name="T27" fmla="*/ 696 h 923"/>
                <a:gd name="T28" fmla="*/ 1250 w 1367"/>
                <a:gd name="T29" fmla="*/ 884 h 923"/>
                <a:gd name="T30" fmla="*/ 1208 w 1367"/>
                <a:gd name="T31" fmla="*/ 919 h 923"/>
                <a:gd name="T32" fmla="*/ 1186 w 1367"/>
                <a:gd name="T33" fmla="*/ 923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7" h="923">
                  <a:moveTo>
                    <a:pt x="173" y="241"/>
                  </a:moveTo>
                  <a:lnTo>
                    <a:pt x="1155" y="753"/>
                  </a:lnTo>
                  <a:lnTo>
                    <a:pt x="1186" y="693"/>
                  </a:lnTo>
                  <a:lnTo>
                    <a:pt x="204" y="181"/>
                  </a:lnTo>
                  <a:lnTo>
                    <a:pt x="173" y="241"/>
                  </a:lnTo>
                  <a:close/>
                  <a:moveTo>
                    <a:pt x="1186" y="923"/>
                  </a:moveTo>
                  <a:cubicBezTo>
                    <a:pt x="1174" y="923"/>
                    <a:pt x="1163" y="920"/>
                    <a:pt x="1152" y="915"/>
                  </a:cubicBezTo>
                  <a:lnTo>
                    <a:pt x="42" y="336"/>
                  </a:lnTo>
                  <a:cubicBezTo>
                    <a:pt x="24" y="327"/>
                    <a:pt x="12" y="312"/>
                    <a:pt x="6" y="293"/>
                  </a:cubicBezTo>
                  <a:cubicBezTo>
                    <a:pt x="0" y="275"/>
                    <a:pt x="2" y="255"/>
                    <a:pt x="11" y="238"/>
                  </a:cubicBezTo>
                  <a:lnTo>
                    <a:pt x="109" y="50"/>
                  </a:lnTo>
                  <a:cubicBezTo>
                    <a:pt x="127" y="14"/>
                    <a:pt x="171" y="0"/>
                    <a:pt x="207" y="19"/>
                  </a:cubicBezTo>
                  <a:lnTo>
                    <a:pt x="1317" y="598"/>
                  </a:lnTo>
                  <a:cubicBezTo>
                    <a:pt x="1353" y="616"/>
                    <a:pt x="1367" y="660"/>
                    <a:pt x="1348" y="696"/>
                  </a:cubicBezTo>
                  <a:lnTo>
                    <a:pt x="1250" y="884"/>
                  </a:lnTo>
                  <a:cubicBezTo>
                    <a:pt x="1241" y="901"/>
                    <a:pt x="1226" y="914"/>
                    <a:pt x="1208" y="919"/>
                  </a:cubicBezTo>
                  <a:cubicBezTo>
                    <a:pt x="1200" y="922"/>
                    <a:pt x="1193" y="923"/>
                    <a:pt x="1186" y="923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802">
              <a:extLst>
                <a:ext uri="{FF2B5EF4-FFF2-40B4-BE49-F238E27FC236}">
                  <a16:creationId xmlns:a16="http://schemas.microsoft.com/office/drawing/2014/main" id="{7350310A-3E42-58EF-5B17-98E9233D34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69075" y="3733800"/>
              <a:ext cx="188913" cy="323850"/>
            </a:xfrm>
            <a:custGeom>
              <a:avLst/>
              <a:gdLst>
                <a:gd name="T0" fmla="*/ 1284 w 1480"/>
                <a:gd name="T1" fmla="*/ 145 h 2529"/>
                <a:gd name="T2" fmla="*/ 1245 w 1480"/>
                <a:gd name="T3" fmla="*/ 169 h 2529"/>
                <a:gd name="T4" fmla="*/ 166 w 1480"/>
                <a:gd name="T5" fmla="*/ 2240 h 2529"/>
                <a:gd name="T6" fmla="*/ 162 w 1480"/>
                <a:gd name="T7" fmla="*/ 2342 h 2529"/>
                <a:gd name="T8" fmla="*/ 244 w 1480"/>
                <a:gd name="T9" fmla="*/ 2280 h 2529"/>
                <a:gd name="T10" fmla="*/ 1323 w 1480"/>
                <a:gd name="T11" fmla="*/ 210 h 2529"/>
                <a:gd name="T12" fmla="*/ 1326 w 1480"/>
                <a:gd name="T13" fmla="*/ 176 h 2529"/>
                <a:gd name="T14" fmla="*/ 1305 w 1480"/>
                <a:gd name="T15" fmla="*/ 150 h 2529"/>
                <a:gd name="T16" fmla="*/ 1284 w 1480"/>
                <a:gd name="T17" fmla="*/ 145 h 2529"/>
                <a:gd name="T18" fmla="*/ 102 w 1480"/>
                <a:gd name="T19" fmla="*/ 2529 h 2529"/>
                <a:gd name="T20" fmla="*/ 69 w 1480"/>
                <a:gd name="T21" fmla="*/ 2521 h 2529"/>
                <a:gd name="T22" fmla="*/ 31 w 1480"/>
                <a:gd name="T23" fmla="*/ 2468 h 2529"/>
                <a:gd name="T24" fmla="*/ 37 w 1480"/>
                <a:gd name="T25" fmla="*/ 2173 h 2529"/>
                <a:gd name="T26" fmla="*/ 1116 w 1480"/>
                <a:gd name="T27" fmla="*/ 102 h 2529"/>
                <a:gd name="T28" fmla="*/ 1284 w 1480"/>
                <a:gd name="T29" fmla="*/ 0 h 2529"/>
                <a:gd name="T30" fmla="*/ 1371 w 1480"/>
                <a:gd name="T31" fmla="*/ 22 h 2529"/>
                <a:gd name="T32" fmla="*/ 1464 w 1480"/>
                <a:gd name="T33" fmla="*/ 132 h 2529"/>
                <a:gd name="T34" fmla="*/ 1452 w 1480"/>
                <a:gd name="T35" fmla="*/ 277 h 2529"/>
                <a:gd name="T36" fmla="*/ 372 w 1480"/>
                <a:gd name="T37" fmla="*/ 2348 h 2529"/>
                <a:gd name="T38" fmla="*/ 134 w 1480"/>
                <a:gd name="T39" fmla="*/ 2522 h 2529"/>
                <a:gd name="T40" fmla="*/ 102 w 1480"/>
                <a:gd name="T41" fmla="*/ 2529 h 2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80" h="2529">
                  <a:moveTo>
                    <a:pt x="1284" y="145"/>
                  </a:moveTo>
                  <a:cubicBezTo>
                    <a:pt x="1267" y="145"/>
                    <a:pt x="1252" y="154"/>
                    <a:pt x="1245" y="169"/>
                  </a:cubicBezTo>
                  <a:lnTo>
                    <a:pt x="166" y="2240"/>
                  </a:lnTo>
                  <a:cubicBezTo>
                    <a:pt x="160" y="2253"/>
                    <a:pt x="159" y="2293"/>
                    <a:pt x="162" y="2342"/>
                  </a:cubicBezTo>
                  <a:cubicBezTo>
                    <a:pt x="204" y="2316"/>
                    <a:pt x="237" y="2292"/>
                    <a:pt x="244" y="2280"/>
                  </a:cubicBezTo>
                  <a:lnTo>
                    <a:pt x="1323" y="210"/>
                  </a:lnTo>
                  <a:cubicBezTo>
                    <a:pt x="1329" y="199"/>
                    <a:pt x="1330" y="187"/>
                    <a:pt x="1326" y="176"/>
                  </a:cubicBezTo>
                  <a:cubicBezTo>
                    <a:pt x="1323" y="165"/>
                    <a:pt x="1315" y="156"/>
                    <a:pt x="1305" y="150"/>
                  </a:cubicBezTo>
                  <a:cubicBezTo>
                    <a:pt x="1298" y="147"/>
                    <a:pt x="1291" y="145"/>
                    <a:pt x="1284" y="145"/>
                  </a:cubicBezTo>
                  <a:close/>
                  <a:moveTo>
                    <a:pt x="102" y="2529"/>
                  </a:moveTo>
                  <a:cubicBezTo>
                    <a:pt x="91" y="2529"/>
                    <a:pt x="79" y="2526"/>
                    <a:pt x="69" y="2521"/>
                  </a:cubicBezTo>
                  <a:cubicBezTo>
                    <a:pt x="49" y="2510"/>
                    <a:pt x="35" y="2491"/>
                    <a:pt x="31" y="2468"/>
                  </a:cubicBezTo>
                  <a:cubicBezTo>
                    <a:pt x="20" y="2403"/>
                    <a:pt x="0" y="2244"/>
                    <a:pt x="37" y="2173"/>
                  </a:cubicBezTo>
                  <a:lnTo>
                    <a:pt x="1116" y="102"/>
                  </a:lnTo>
                  <a:cubicBezTo>
                    <a:pt x="1149" y="39"/>
                    <a:pt x="1213" y="0"/>
                    <a:pt x="1284" y="0"/>
                  </a:cubicBezTo>
                  <a:cubicBezTo>
                    <a:pt x="1314" y="0"/>
                    <a:pt x="1344" y="8"/>
                    <a:pt x="1371" y="22"/>
                  </a:cubicBezTo>
                  <a:cubicBezTo>
                    <a:pt x="1416" y="45"/>
                    <a:pt x="1449" y="84"/>
                    <a:pt x="1464" y="132"/>
                  </a:cubicBezTo>
                  <a:cubicBezTo>
                    <a:pt x="1480" y="181"/>
                    <a:pt x="1475" y="232"/>
                    <a:pt x="1452" y="277"/>
                  </a:cubicBezTo>
                  <a:lnTo>
                    <a:pt x="372" y="2348"/>
                  </a:lnTo>
                  <a:cubicBezTo>
                    <a:pt x="336" y="2419"/>
                    <a:pt x="194" y="2493"/>
                    <a:pt x="134" y="2522"/>
                  </a:cubicBezTo>
                  <a:cubicBezTo>
                    <a:pt x="124" y="2527"/>
                    <a:pt x="113" y="2529"/>
                    <a:pt x="102" y="2529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803">
              <a:extLst>
                <a:ext uri="{FF2B5EF4-FFF2-40B4-BE49-F238E27FC236}">
                  <a16:creationId xmlns:a16="http://schemas.microsoft.com/office/drawing/2014/main" id="{20F42EBE-2F5C-2A4B-8573-A3B7411DE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1150" y="3819525"/>
              <a:ext cx="61913" cy="41275"/>
            </a:xfrm>
            <a:custGeom>
              <a:avLst/>
              <a:gdLst>
                <a:gd name="T0" fmla="*/ 402 w 485"/>
                <a:gd name="T1" fmla="*/ 322 h 322"/>
                <a:gd name="T2" fmla="*/ 369 w 485"/>
                <a:gd name="T3" fmla="*/ 313 h 322"/>
                <a:gd name="T4" fmla="*/ 49 w 485"/>
                <a:gd name="T5" fmla="*/ 147 h 322"/>
                <a:gd name="T6" fmla="*/ 18 w 485"/>
                <a:gd name="T7" fmla="*/ 49 h 322"/>
                <a:gd name="T8" fmla="*/ 116 w 485"/>
                <a:gd name="T9" fmla="*/ 18 h 322"/>
                <a:gd name="T10" fmla="*/ 436 w 485"/>
                <a:gd name="T11" fmla="*/ 185 h 322"/>
                <a:gd name="T12" fmla="*/ 467 w 485"/>
                <a:gd name="T13" fmla="*/ 283 h 322"/>
                <a:gd name="T14" fmla="*/ 402 w 485"/>
                <a:gd name="T15" fmla="*/ 32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5" h="322">
                  <a:moveTo>
                    <a:pt x="402" y="322"/>
                  </a:moveTo>
                  <a:cubicBezTo>
                    <a:pt x="391" y="322"/>
                    <a:pt x="380" y="319"/>
                    <a:pt x="369" y="313"/>
                  </a:cubicBezTo>
                  <a:lnTo>
                    <a:pt x="49" y="147"/>
                  </a:lnTo>
                  <a:cubicBezTo>
                    <a:pt x="13" y="128"/>
                    <a:pt x="0" y="84"/>
                    <a:pt x="18" y="49"/>
                  </a:cubicBezTo>
                  <a:cubicBezTo>
                    <a:pt x="37" y="13"/>
                    <a:pt x="80" y="0"/>
                    <a:pt x="116" y="18"/>
                  </a:cubicBezTo>
                  <a:lnTo>
                    <a:pt x="436" y="185"/>
                  </a:lnTo>
                  <a:cubicBezTo>
                    <a:pt x="472" y="203"/>
                    <a:pt x="485" y="247"/>
                    <a:pt x="467" y="283"/>
                  </a:cubicBezTo>
                  <a:cubicBezTo>
                    <a:pt x="454" y="307"/>
                    <a:pt x="429" y="322"/>
                    <a:pt x="402" y="322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5" name="Contrac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33318CD-81EB-951D-61C1-C0D69DED65BC}"/>
              </a:ext>
            </a:extLst>
          </p:cNvPr>
          <p:cNvGrpSpPr>
            <a:grpSpLocks noChangeAspect="1"/>
          </p:cNvGrpSpPr>
          <p:nvPr/>
        </p:nvGrpSpPr>
        <p:grpSpPr>
          <a:xfrm>
            <a:off x="9113476" y="3068764"/>
            <a:ext cx="496702" cy="426744"/>
            <a:chOff x="6470649" y="5883275"/>
            <a:chExt cx="563564" cy="484189"/>
          </a:xfrm>
          <a:solidFill>
            <a:schemeClr val="tx1"/>
          </a:solidFill>
        </p:grpSpPr>
        <p:sp>
          <p:nvSpPr>
            <p:cNvPr id="66" name="Line 1734">
              <a:extLst>
                <a:ext uri="{FF2B5EF4-FFF2-40B4-BE49-F238E27FC236}">
                  <a16:creationId xmlns:a16="http://schemas.microsoft.com/office/drawing/2014/main" id="{BD6FFAF4-AD8A-AD30-0C01-FA5B60EF8F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57963" y="5883275"/>
              <a:ext cx="206375" cy="0"/>
            </a:xfrm>
            <a:prstGeom prst="line">
              <a:avLst/>
            </a:pr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Line 1735">
              <a:extLst>
                <a:ext uri="{FF2B5EF4-FFF2-40B4-BE49-F238E27FC236}">
                  <a16:creationId xmlns:a16="http://schemas.microsoft.com/office/drawing/2014/main" id="{3D867BE5-81DA-75B1-5247-1FDDAFF198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57963" y="5978525"/>
              <a:ext cx="206375" cy="0"/>
            </a:xfrm>
            <a:prstGeom prst="line">
              <a:avLst/>
            </a:pr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Line 1736">
              <a:extLst>
                <a:ext uri="{FF2B5EF4-FFF2-40B4-BE49-F238E27FC236}">
                  <a16:creationId xmlns:a16="http://schemas.microsoft.com/office/drawing/2014/main" id="{9EEE745E-9472-AF96-E437-38FBE304F7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57963" y="6075363"/>
              <a:ext cx="206375" cy="0"/>
            </a:xfrm>
            <a:prstGeom prst="line">
              <a:avLst/>
            </a:pr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Line 1737">
              <a:extLst>
                <a:ext uri="{FF2B5EF4-FFF2-40B4-BE49-F238E27FC236}">
                  <a16:creationId xmlns:a16="http://schemas.microsoft.com/office/drawing/2014/main" id="{68CA2884-AF27-41FE-EB92-5F2DB63FB9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57964" y="6173788"/>
              <a:ext cx="119062" cy="0"/>
            </a:xfrm>
            <a:prstGeom prst="line">
              <a:avLst/>
            </a:pr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Line 1738">
              <a:extLst>
                <a:ext uri="{FF2B5EF4-FFF2-40B4-BE49-F238E27FC236}">
                  <a16:creationId xmlns:a16="http://schemas.microsoft.com/office/drawing/2014/main" id="{CCDE16ED-0A72-D640-B9EA-9795E7B476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57963" y="6270625"/>
              <a:ext cx="90487" cy="0"/>
            </a:xfrm>
            <a:prstGeom prst="line">
              <a:avLst/>
            </a:pr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Line 1739">
              <a:extLst>
                <a:ext uri="{FF2B5EF4-FFF2-40B4-BE49-F238E27FC236}">
                  <a16:creationId xmlns:a16="http://schemas.microsoft.com/office/drawing/2014/main" id="{21135609-F492-9DEA-0052-DCE36CD8F7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57963" y="6367463"/>
              <a:ext cx="206375" cy="0"/>
            </a:xfrm>
            <a:prstGeom prst="line">
              <a:avLst/>
            </a:pr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1745">
              <a:extLst>
                <a:ext uri="{FF2B5EF4-FFF2-40B4-BE49-F238E27FC236}">
                  <a16:creationId xmlns:a16="http://schemas.microsoft.com/office/drawing/2014/main" id="{800D2E07-1258-61C5-F0CC-9B485A874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4650" y="5918200"/>
              <a:ext cx="309563" cy="311150"/>
            </a:xfrm>
            <a:custGeom>
              <a:avLst/>
              <a:gdLst>
                <a:gd name="T0" fmla="*/ 49 w 278"/>
                <a:gd name="T1" fmla="*/ 278 h 278"/>
                <a:gd name="T2" fmla="*/ 0 w 278"/>
                <a:gd name="T3" fmla="*/ 229 h 278"/>
                <a:gd name="T4" fmla="*/ 229 w 278"/>
                <a:gd name="T5" fmla="*/ 0 h 278"/>
                <a:gd name="T6" fmla="*/ 278 w 278"/>
                <a:gd name="T7" fmla="*/ 49 h 278"/>
                <a:gd name="T8" fmla="*/ 49 w 278"/>
                <a:gd name="T9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278">
                  <a:moveTo>
                    <a:pt x="49" y="278"/>
                  </a:moveTo>
                  <a:lnTo>
                    <a:pt x="0" y="229"/>
                  </a:lnTo>
                  <a:lnTo>
                    <a:pt x="229" y="0"/>
                  </a:lnTo>
                  <a:lnTo>
                    <a:pt x="278" y="49"/>
                  </a:lnTo>
                  <a:lnTo>
                    <a:pt x="49" y="278"/>
                  </a:lnTo>
                  <a:close/>
                </a:path>
              </a:pathLst>
            </a:cu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Line 1746">
              <a:extLst>
                <a:ext uri="{FF2B5EF4-FFF2-40B4-BE49-F238E27FC236}">
                  <a16:creationId xmlns:a16="http://schemas.microsoft.com/office/drawing/2014/main" id="{676C96B8-CDBF-536F-A6CA-F4CA08D20C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38963" y="5959475"/>
              <a:ext cx="53975" cy="55563"/>
            </a:xfrm>
            <a:prstGeom prst="line">
              <a:avLst/>
            </a:pr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1747">
              <a:extLst>
                <a:ext uri="{FF2B5EF4-FFF2-40B4-BE49-F238E27FC236}">
                  <a16:creationId xmlns:a16="http://schemas.microsoft.com/office/drawing/2014/main" id="{A1A2FC56-AC9F-2F16-A0CE-CFA9EA02B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3375" y="6173788"/>
              <a:ext cx="95250" cy="95250"/>
            </a:xfrm>
            <a:custGeom>
              <a:avLst/>
              <a:gdLst>
                <a:gd name="T0" fmla="*/ 0 w 86"/>
                <a:gd name="T1" fmla="*/ 85 h 85"/>
                <a:gd name="T2" fmla="*/ 86 w 86"/>
                <a:gd name="T3" fmla="*/ 49 h 85"/>
                <a:gd name="T4" fmla="*/ 37 w 86"/>
                <a:gd name="T5" fmla="*/ 0 h 85"/>
                <a:gd name="T6" fmla="*/ 0 w 86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" h="85">
                  <a:moveTo>
                    <a:pt x="0" y="85"/>
                  </a:moveTo>
                  <a:lnTo>
                    <a:pt x="86" y="49"/>
                  </a:lnTo>
                  <a:lnTo>
                    <a:pt x="37" y="0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1748">
              <a:extLst>
                <a:ext uri="{FF2B5EF4-FFF2-40B4-BE49-F238E27FC236}">
                  <a16:creationId xmlns:a16="http://schemas.microsoft.com/office/drawing/2014/main" id="{4603414A-1636-A82F-4568-FBC6A30EE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3375" y="6173788"/>
              <a:ext cx="95250" cy="95250"/>
            </a:xfrm>
            <a:custGeom>
              <a:avLst/>
              <a:gdLst>
                <a:gd name="T0" fmla="*/ 0 w 86"/>
                <a:gd name="T1" fmla="*/ 85 h 85"/>
                <a:gd name="T2" fmla="*/ 86 w 86"/>
                <a:gd name="T3" fmla="*/ 49 h 85"/>
                <a:gd name="T4" fmla="*/ 37 w 86"/>
                <a:gd name="T5" fmla="*/ 0 h 85"/>
                <a:gd name="T6" fmla="*/ 0 w 86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" h="85">
                  <a:moveTo>
                    <a:pt x="0" y="85"/>
                  </a:moveTo>
                  <a:lnTo>
                    <a:pt x="86" y="49"/>
                  </a:lnTo>
                  <a:lnTo>
                    <a:pt x="37" y="0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Line 1735">
              <a:extLst>
                <a:ext uri="{FF2B5EF4-FFF2-40B4-BE49-F238E27FC236}">
                  <a16:creationId xmlns:a16="http://schemas.microsoft.com/office/drawing/2014/main" id="{8DB8A6A5-ED3D-1F1B-5DC5-FC3A2398EF9F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6800849" y="5938839"/>
              <a:ext cx="107951" cy="0"/>
            </a:xfrm>
            <a:prstGeom prst="line">
              <a:avLst/>
            </a:pr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Line 1735">
              <a:extLst>
                <a:ext uri="{FF2B5EF4-FFF2-40B4-BE49-F238E27FC236}">
                  <a16:creationId xmlns:a16="http://schemas.microsoft.com/office/drawing/2014/main" id="{3DF2CED1-BD09-5098-E88A-8B85B48D969D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6772275" y="6284913"/>
              <a:ext cx="165100" cy="0"/>
            </a:xfrm>
            <a:prstGeom prst="line">
              <a:avLst/>
            </a:pr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Line 1735">
              <a:extLst>
                <a:ext uri="{FF2B5EF4-FFF2-40B4-BE49-F238E27FC236}">
                  <a16:creationId xmlns:a16="http://schemas.microsoft.com/office/drawing/2014/main" id="{97117348-1526-B0E6-06B1-7D4A3B43AFAF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0800000">
              <a:off x="6472487" y="6367464"/>
              <a:ext cx="374400" cy="0"/>
            </a:xfrm>
            <a:prstGeom prst="line">
              <a:avLst/>
            </a:pr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Line 1735">
              <a:extLst>
                <a:ext uri="{FF2B5EF4-FFF2-40B4-BE49-F238E27FC236}">
                  <a16:creationId xmlns:a16="http://schemas.microsoft.com/office/drawing/2014/main" id="{C907E51C-E2B1-BF5F-5290-6419BC549319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0800000">
              <a:off x="6472487" y="5883275"/>
              <a:ext cx="374400" cy="0"/>
            </a:xfrm>
            <a:prstGeom prst="line">
              <a:avLst/>
            </a:pr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Line 1735">
              <a:extLst>
                <a:ext uri="{FF2B5EF4-FFF2-40B4-BE49-F238E27FC236}">
                  <a16:creationId xmlns:a16="http://schemas.microsoft.com/office/drawing/2014/main" id="{D6EDB983-B6EE-97DC-419F-98CCA38A15C8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6200000">
              <a:off x="6229449" y="6125470"/>
              <a:ext cx="482400" cy="0"/>
            </a:xfrm>
            <a:prstGeom prst="line">
              <a:avLst/>
            </a:prstGeom>
            <a:grpFill/>
            <a:ln w="20638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4" name="Resum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C5165CB-F520-BB7B-8D30-AF7268B0D33E}"/>
              </a:ext>
            </a:extLst>
          </p:cNvPr>
          <p:cNvGrpSpPr>
            <a:grpSpLocks noChangeAspect="1"/>
          </p:cNvGrpSpPr>
          <p:nvPr/>
        </p:nvGrpSpPr>
        <p:grpSpPr>
          <a:xfrm>
            <a:off x="2087917" y="5061150"/>
            <a:ext cx="389006" cy="399244"/>
            <a:chOff x="8035926" y="3203575"/>
            <a:chExt cx="482600" cy="495301"/>
          </a:xfrm>
          <a:solidFill>
            <a:schemeClr val="tx1"/>
          </a:solidFill>
        </p:grpSpPr>
        <p:sp>
          <p:nvSpPr>
            <p:cNvPr id="95" name="Freeform 68">
              <a:extLst>
                <a:ext uri="{FF2B5EF4-FFF2-40B4-BE49-F238E27FC236}">
                  <a16:creationId xmlns:a16="http://schemas.microsoft.com/office/drawing/2014/main" id="{54AFDF39-B0B5-BA28-BD76-7003EBBFA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2601" y="3203575"/>
              <a:ext cx="355600" cy="293688"/>
            </a:xfrm>
            <a:custGeom>
              <a:avLst/>
              <a:gdLst>
                <a:gd name="T0" fmla="*/ 381 w 389"/>
                <a:gd name="T1" fmla="*/ 322 h 322"/>
                <a:gd name="T2" fmla="*/ 374 w 389"/>
                <a:gd name="T3" fmla="*/ 315 h 322"/>
                <a:gd name="T4" fmla="*/ 374 w 389"/>
                <a:gd name="T5" fmla="*/ 14 h 322"/>
                <a:gd name="T6" fmla="*/ 103 w 389"/>
                <a:gd name="T7" fmla="*/ 14 h 322"/>
                <a:gd name="T8" fmla="*/ 15 w 389"/>
                <a:gd name="T9" fmla="*/ 103 h 322"/>
                <a:gd name="T10" fmla="*/ 15 w 389"/>
                <a:gd name="T11" fmla="*/ 168 h 322"/>
                <a:gd name="T12" fmla="*/ 7 w 389"/>
                <a:gd name="T13" fmla="*/ 175 h 322"/>
                <a:gd name="T14" fmla="*/ 0 w 389"/>
                <a:gd name="T15" fmla="*/ 168 h 322"/>
                <a:gd name="T16" fmla="*/ 0 w 389"/>
                <a:gd name="T17" fmla="*/ 100 h 322"/>
                <a:gd name="T18" fmla="*/ 2 w 389"/>
                <a:gd name="T19" fmla="*/ 95 h 322"/>
                <a:gd name="T20" fmla="*/ 95 w 389"/>
                <a:gd name="T21" fmla="*/ 2 h 322"/>
                <a:gd name="T22" fmla="*/ 100 w 389"/>
                <a:gd name="T23" fmla="*/ 0 h 322"/>
                <a:gd name="T24" fmla="*/ 381 w 389"/>
                <a:gd name="T25" fmla="*/ 0 h 322"/>
                <a:gd name="T26" fmla="*/ 389 w 389"/>
                <a:gd name="T27" fmla="*/ 7 h 322"/>
                <a:gd name="T28" fmla="*/ 389 w 389"/>
                <a:gd name="T29" fmla="*/ 315 h 322"/>
                <a:gd name="T30" fmla="*/ 381 w 389"/>
                <a:gd name="T31" fmla="*/ 32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9" h="322">
                  <a:moveTo>
                    <a:pt x="381" y="322"/>
                  </a:moveTo>
                  <a:cubicBezTo>
                    <a:pt x="377" y="322"/>
                    <a:pt x="374" y="319"/>
                    <a:pt x="374" y="315"/>
                  </a:cubicBezTo>
                  <a:lnTo>
                    <a:pt x="374" y="14"/>
                  </a:lnTo>
                  <a:lnTo>
                    <a:pt x="103" y="14"/>
                  </a:lnTo>
                  <a:lnTo>
                    <a:pt x="15" y="103"/>
                  </a:lnTo>
                  <a:lnTo>
                    <a:pt x="15" y="168"/>
                  </a:lnTo>
                  <a:cubicBezTo>
                    <a:pt x="15" y="172"/>
                    <a:pt x="11" y="175"/>
                    <a:pt x="7" y="175"/>
                  </a:cubicBezTo>
                  <a:cubicBezTo>
                    <a:pt x="3" y="175"/>
                    <a:pt x="0" y="172"/>
                    <a:pt x="0" y="168"/>
                  </a:cubicBezTo>
                  <a:lnTo>
                    <a:pt x="0" y="100"/>
                  </a:lnTo>
                  <a:cubicBezTo>
                    <a:pt x="0" y="98"/>
                    <a:pt x="1" y="96"/>
                    <a:pt x="2" y="95"/>
                  </a:cubicBezTo>
                  <a:lnTo>
                    <a:pt x="95" y="2"/>
                  </a:lnTo>
                  <a:cubicBezTo>
                    <a:pt x="97" y="0"/>
                    <a:pt x="98" y="0"/>
                    <a:pt x="100" y="0"/>
                  </a:cubicBezTo>
                  <a:lnTo>
                    <a:pt x="381" y="0"/>
                  </a:lnTo>
                  <a:cubicBezTo>
                    <a:pt x="385" y="0"/>
                    <a:pt x="389" y="3"/>
                    <a:pt x="389" y="7"/>
                  </a:cubicBezTo>
                  <a:lnTo>
                    <a:pt x="389" y="315"/>
                  </a:lnTo>
                  <a:cubicBezTo>
                    <a:pt x="389" y="319"/>
                    <a:pt x="385" y="322"/>
                    <a:pt x="381" y="322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69">
              <a:extLst>
                <a:ext uri="{FF2B5EF4-FFF2-40B4-BE49-F238E27FC236}">
                  <a16:creationId xmlns:a16="http://schemas.microsoft.com/office/drawing/2014/main" id="{3E6ADAAE-1961-07E5-00FB-1080922D4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1338" y="3643313"/>
              <a:ext cx="296863" cy="55563"/>
            </a:xfrm>
            <a:custGeom>
              <a:avLst/>
              <a:gdLst>
                <a:gd name="T0" fmla="*/ 317 w 325"/>
                <a:gd name="T1" fmla="*/ 62 h 62"/>
                <a:gd name="T2" fmla="*/ 8 w 325"/>
                <a:gd name="T3" fmla="*/ 62 h 62"/>
                <a:gd name="T4" fmla="*/ 0 w 325"/>
                <a:gd name="T5" fmla="*/ 55 h 62"/>
                <a:gd name="T6" fmla="*/ 8 w 325"/>
                <a:gd name="T7" fmla="*/ 48 h 62"/>
                <a:gd name="T8" fmla="*/ 310 w 325"/>
                <a:gd name="T9" fmla="*/ 48 h 62"/>
                <a:gd name="T10" fmla="*/ 310 w 325"/>
                <a:gd name="T11" fmla="*/ 8 h 62"/>
                <a:gd name="T12" fmla="*/ 317 w 325"/>
                <a:gd name="T13" fmla="*/ 0 h 62"/>
                <a:gd name="T14" fmla="*/ 325 w 325"/>
                <a:gd name="T15" fmla="*/ 8 h 62"/>
                <a:gd name="T16" fmla="*/ 325 w 325"/>
                <a:gd name="T17" fmla="*/ 55 h 62"/>
                <a:gd name="T18" fmla="*/ 317 w 325"/>
                <a:gd name="T1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5" h="62">
                  <a:moveTo>
                    <a:pt x="317" y="62"/>
                  </a:moveTo>
                  <a:lnTo>
                    <a:pt x="8" y="62"/>
                  </a:lnTo>
                  <a:cubicBezTo>
                    <a:pt x="4" y="62"/>
                    <a:pt x="0" y="59"/>
                    <a:pt x="0" y="55"/>
                  </a:cubicBezTo>
                  <a:cubicBezTo>
                    <a:pt x="0" y="51"/>
                    <a:pt x="4" y="48"/>
                    <a:pt x="8" y="48"/>
                  </a:cubicBezTo>
                  <a:lnTo>
                    <a:pt x="310" y="48"/>
                  </a:lnTo>
                  <a:lnTo>
                    <a:pt x="310" y="8"/>
                  </a:lnTo>
                  <a:cubicBezTo>
                    <a:pt x="310" y="4"/>
                    <a:pt x="313" y="0"/>
                    <a:pt x="317" y="0"/>
                  </a:cubicBezTo>
                  <a:cubicBezTo>
                    <a:pt x="321" y="0"/>
                    <a:pt x="325" y="4"/>
                    <a:pt x="325" y="8"/>
                  </a:cubicBezTo>
                  <a:lnTo>
                    <a:pt x="325" y="55"/>
                  </a:lnTo>
                  <a:cubicBezTo>
                    <a:pt x="325" y="59"/>
                    <a:pt x="321" y="62"/>
                    <a:pt x="317" y="62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70">
              <a:extLst>
                <a:ext uri="{FF2B5EF4-FFF2-40B4-BE49-F238E27FC236}">
                  <a16:creationId xmlns:a16="http://schemas.microsoft.com/office/drawing/2014/main" id="{BCE632C7-8E36-1C1E-5387-51F44773C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2601" y="3203575"/>
              <a:ext cx="98425" cy="98425"/>
            </a:xfrm>
            <a:custGeom>
              <a:avLst/>
              <a:gdLst>
                <a:gd name="T0" fmla="*/ 8 w 109"/>
                <a:gd name="T1" fmla="*/ 108 h 108"/>
                <a:gd name="T2" fmla="*/ 3 w 109"/>
                <a:gd name="T3" fmla="*/ 106 h 108"/>
                <a:gd name="T4" fmla="*/ 3 w 109"/>
                <a:gd name="T5" fmla="*/ 96 h 108"/>
                <a:gd name="T6" fmla="*/ 96 w 109"/>
                <a:gd name="T7" fmla="*/ 3 h 108"/>
                <a:gd name="T8" fmla="*/ 107 w 109"/>
                <a:gd name="T9" fmla="*/ 3 h 108"/>
                <a:gd name="T10" fmla="*/ 107 w 109"/>
                <a:gd name="T11" fmla="*/ 13 h 108"/>
                <a:gd name="T12" fmla="*/ 13 w 109"/>
                <a:gd name="T13" fmla="*/ 106 h 108"/>
                <a:gd name="T14" fmla="*/ 8 w 109"/>
                <a:gd name="T1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" h="108">
                  <a:moveTo>
                    <a:pt x="8" y="108"/>
                  </a:moveTo>
                  <a:cubicBezTo>
                    <a:pt x="6" y="108"/>
                    <a:pt x="5" y="108"/>
                    <a:pt x="3" y="106"/>
                  </a:cubicBezTo>
                  <a:cubicBezTo>
                    <a:pt x="0" y="103"/>
                    <a:pt x="0" y="99"/>
                    <a:pt x="3" y="96"/>
                  </a:cubicBezTo>
                  <a:lnTo>
                    <a:pt x="96" y="3"/>
                  </a:lnTo>
                  <a:cubicBezTo>
                    <a:pt x="99" y="0"/>
                    <a:pt x="104" y="0"/>
                    <a:pt x="107" y="3"/>
                  </a:cubicBezTo>
                  <a:cubicBezTo>
                    <a:pt x="109" y="6"/>
                    <a:pt x="109" y="10"/>
                    <a:pt x="107" y="13"/>
                  </a:cubicBezTo>
                  <a:lnTo>
                    <a:pt x="13" y="106"/>
                  </a:lnTo>
                  <a:cubicBezTo>
                    <a:pt x="12" y="108"/>
                    <a:pt x="10" y="108"/>
                    <a:pt x="8" y="108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71">
              <a:extLst>
                <a:ext uri="{FF2B5EF4-FFF2-40B4-BE49-F238E27FC236}">
                  <a16:creationId xmlns:a16="http://schemas.microsoft.com/office/drawing/2014/main" id="{9B092F95-7E44-CCFF-D4DA-60A41F345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2601" y="3203575"/>
              <a:ext cx="98425" cy="98425"/>
            </a:xfrm>
            <a:custGeom>
              <a:avLst/>
              <a:gdLst>
                <a:gd name="T0" fmla="*/ 100 w 108"/>
                <a:gd name="T1" fmla="*/ 107 h 107"/>
                <a:gd name="T2" fmla="*/ 100 w 108"/>
                <a:gd name="T3" fmla="*/ 107 h 107"/>
                <a:gd name="T4" fmla="*/ 7 w 108"/>
                <a:gd name="T5" fmla="*/ 107 h 107"/>
                <a:gd name="T6" fmla="*/ 0 w 108"/>
                <a:gd name="T7" fmla="*/ 100 h 107"/>
                <a:gd name="T8" fmla="*/ 7 w 108"/>
                <a:gd name="T9" fmla="*/ 93 h 107"/>
                <a:gd name="T10" fmla="*/ 7 w 108"/>
                <a:gd name="T11" fmla="*/ 93 h 107"/>
                <a:gd name="T12" fmla="*/ 93 w 108"/>
                <a:gd name="T13" fmla="*/ 93 h 107"/>
                <a:gd name="T14" fmla="*/ 93 w 108"/>
                <a:gd name="T15" fmla="*/ 7 h 107"/>
                <a:gd name="T16" fmla="*/ 100 w 108"/>
                <a:gd name="T17" fmla="*/ 0 h 107"/>
                <a:gd name="T18" fmla="*/ 108 w 108"/>
                <a:gd name="T19" fmla="*/ 7 h 107"/>
                <a:gd name="T20" fmla="*/ 108 w 108"/>
                <a:gd name="T21" fmla="*/ 100 h 107"/>
                <a:gd name="T22" fmla="*/ 106 w 108"/>
                <a:gd name="T23" fmla="*/ 105 h 107"/>
                <a:gd name="T24" fmla="*/ 100 w 108"/>
                <a:gd name="T25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8" h="107">
                  <a:moveTo>
                    <a:pt x="100" y="107"/>
                  </a:moveTo>
                  <a:lnTo>
                    <a:pt x="100" y="107"/>
                  </a:lnTo>
                  <a:lnTo>
                    <a:pt x="7" y="107"/>
                  </a:lnTo>
                  <a:cubicBezTo>
                    <a:pt x="3" y="107"/>
                    <a:pt x="0" y="104"/>
                    <a:pt x="0" y="100"/>
                  </a:cubicBezTo>
                  <a:cubicBezTo>
                    <a:pt x="0" y="96"/>
                    <a:pt x="3" y="93"/>
                    <a:pt x="7" y="93"/>
                  </a:cubicBezTo>
                  <a:lnTo>
                    <a:pt x="7" y="93"/>
                  </a:lnTo>
                  <a:lnTo>
                    <a:pt x="93" y="93"/>
                  </a:lnTo>
                  <a:lnTo>
                    <a:pt x="93" y="7"/>
                  </a:lnTo>
                  <a:cubicBezTo>
                    <a:pt x="93" y="3"/>
                    <a:pt x="96" y="0"/>
                    <a:pt x="100" y="0"/>
                  </a:cubicBezTo>
                  <a:cubicBezTo>
                    <a:pt x="104" y="0"/>
                    <a:pt x="108" y="3"/>
                    <a:pt x="108" y="7"/>
                  </a:cubicBezTo>
                  <a:lnTo>
                    <a:pt x="108" y="100"/>
                  </a:lnTo>
                  <a:cubicBezTo>
                    <a:pt x="108" y="102"/>
                    <a:pt x="107" y="104"/>
                    <a:pt x="106" y="105"/>
                  </a:cubicBezTo>
                  <a:cubicBezTo>
                    <a:pt x="104" y="107"/>
                    <a:pt x="102" y="107"/>
                    <a:pt x="100" y="107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72">
              <a:extLst>
                <a:ext uri="{FF2B5EF4-FFF2-40B4-BE49-F238E27FC236}">
                  <a16:creationId xmlns:a16="http://schemas.microsoft.com/office/drawing/2014/main" id="{B6F46B89-B79E-D55F-16CC-68E05DC4B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8651" y="3295650"/>
              <a:ext cx="157163" cy="12700"/>
            </a:xfrm>
            <a:custGeom>
              <a:avLst/>
              <a:gdLst>
                <a:gd name="T0" fmla="*/ 165 w 172"/>
                <a:gd name="T1" fmla="*/ 15 h 15"/>
                <a:gd name="T2" fmla="*/ 8 w 172"/>
                <a:gd name="T3" fmla="*/ 15 h 15"/>
                <a:gd name="T4" fmla="*/ 0 w 172"/>
                <a:gd name="T5" fmla="*/ 7 h 15"/>
                <a:gd name="T6" fmla="*/ 8 w 172"/>
                <a:gd name="T7" fmla="*/ 0 h 15"/>
                <a:gd name="T8" fmla="*/ 165 w 172"/>
                <a:gd name="T9" fmla="*/ 0 h 15"/>
                <a:gd name="T10" fmla="*/ 172 w 172"/>
                <a:gd name="T11" fmla="*/ 7 h 15"/>
                <a:gd name="T12" fmla="*/ 165 w 172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5">
                  <a:moveTo>
                    <a:pt x="165" y="15"/>
                  </a:moveTo>
                  <a:lnTo>
                    <a:pt x="8" y="15"/>
                  </a:lnTo>
                  <a:cubicBezTo>
                    <a:pt x="4" y="15"/>
                    <a:pt x="0" y="11"/>
                    <a:pt x="0" y="7"/>
                  </a:cubicBezTo>
                  <a:cubicBezTo>
                    <a:pt x="0" y="3"/>
                    <a:pt x="4" y="0"/>
                    <a:pt x="8" y="0"/>
                  </a:cubicBezTo>
                  <a:lnTo>
                    <a:pt x="165" y="0"/>
                  </a:lnTo>
                  <a:cubicBezTo>
                    <a:pt x="169" y="0"/>
                    <a:pt x="172" y="3"/>
                    <a:pt x="172" y="7"/>
                  </a:cubicBezTo>
                  <a:cubicBezTo>
                    <a:pt x="172" y="11"/>
                    <a:pt x="169" y="15"/>
                    <a:pt x="165" y="15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73">
              <a:extLst>
                <a:ext uri="{FF2B5EF4-FFF2-40B4-BE49-F238E27FC236}">
                  <a16:creationId xmlns:a16="http://schemas.microsoft.com/office/drawing/2014/main" id="{16205038-36F7-497B-90AE-D354B43E74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4988" y="3355975"/>
              <a:ext cx="250825" cy="12700"/>
            </a:xfrm>
            <a:custGeom>
              <a:avLst/>
              <a:gdLst>
                <a:gd name="T0" fmla="*/ 268 w 275"/>
                <a:gd name="T1" fmla="*/ 14 h 14"/>
                <a:gd name="T2" fmla="*/ 7 w 275"/>
                <a:gd name="T3" fmla="*/ 14 h 14"/>
                <a:gd name="T4" fmla="*/ 0 w 275"/>
                <a:gd name="T5" fmla="*/ 7 h 14"/>
                <a:gd name="T6" fmla="*/ 7 w 275"/>
                <a:gd name="T7" fmla="*/ 0 h 14"/>
                <a:gd name="T8" fmla="*/ 268 w 275"/>
                <a:gd name="T9" fmla="*/ 0 h 14"/>
                <a:gd name="T10" fmla="*/ 275 w 275"/>
                <a:gd name="T11" fmla="*/ 7 h 14"/>
                <a:gd name="T12" fmla="*/ 268 w 275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5" h="14">
                  <a:moveTo>
                    <a:pt x="268" y="14"/>
                  </a:moveTo>
                  <a:lnTo>
                    <a:pt x="7" y="14"/>
                  </a:ln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268" y="0"/>
                  </a:lnTo>
                  <a:cubicBezTo>
                    <a:pt x="272" y="0"/>
                    <a:pt x="275" y="3"/>
                    <a:pt x="275" y="7"/>
                  </a:cubicBezTo>
                  <a:cubicBezTo>
                    <a:pt x="275" y="11"/>
                    <a:pt x="272" y="14"/>
                    <a:pt x="268" y="1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74">
              <a:extLst>
                <a:ext uri="{FF2B5EF4-FFF2-40B4-BE49-F238E27FC236}">
                  <a16:creationId xmlns:a16="http://schemas.microsoft.com/office/drawing/2014/main" id="{335893F5-3F6A-1903-949B-14B21ECD1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9451" y="3414713"/>
              <a:ext cx="85725" cy="14288"/>
            </a:xfrm>
            <a:custGeom>
              <a:avLst/>
              <a:gdLst>
                <a:gd name="T0" fmla="*/ 86 w 93"/>
                <a:gd name="T1" fmla="*/ 15 h 15"/>
                <a:gd name="T2" fmla="*/ 7 w 93"/>
                <a:gd name="T3" fmla="*/ 15 h 15"/>
                <a:gd name="T4" fmla="*/ 0 w 93"/>
                <a:gd name="T5" fmla="*/ 8 h 15"/>
                <a:gd name="T6" fmla="*/ 7 w 93"/>
                <a:gd name="T7" fmla="*/ 0 h 15"/>
                <a:gd name="T8" fmla="*/ 86 w 93"/>
                <a:gd name="T9" fmla="*/ 0 h 15"/>
                <a:gd name="T10" fmla="*/ 93 w 93"/>
                <a:gd name="T11" fmla="*/ 8 h 15"/>
                <a:gd name="T12" fmla="*/ 86 w 93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15">
                  <a:moveTo>
                    <a:pt x="86" y="15"/>
                  </a:moveTo>
                  <a:lnTo>
                    <a:pt x="7" y="15"/>
                  </a:lnTo>
                  <a:cubicBezTo>
                    <a:pt x="3" y="15"/>
                    <a:pt x="0" y="12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lnTo>
                    <a:pt x="86" y="0"/>
                  </a:lnTo>
                  <a:cubicBezTo>
                    <a:pt x="90" y="0"/>
                    <a:pt x="93" y="4"/>
                    <a:pt x="93" y="8"/>
                  </a:cubicBezTo>
                  <a:cubicBezTo>
                    <a:pt x="93" y="12"/>
                    <a:pt x="90" y="15"/>
                    <a:pt x="86" y="15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75">
              <a:extLst>
                <a:ext uri="{FF2B5EF4-FFF2-40B4-BE49-F238E27FC236}">
                  <a16:creationId xmlns:a16="http://schemas.microsoft.com/office/drawing/2014/main" id="{2C1DA61F-3895-E807-87D1-4A17AE757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4988" y="3414713"/>
              <a:ext cx="73025" cy="14288"/>
            </a:xfrm>
            <a:custGeom>
              <a:avLst/>
              <a:gdLst>
                <a:gd name="T0" fmla="*/ 73 w 80"/>
                <a:gd name="T1" fmla="*/ 15 h 15"/>
                <a:gd name="T2" fmla="*/ 7 w 80"/>
                <a:gd name="T3" fmla="*/ 15 h 15"/>
                <a:gd name="T4" fmla="*/ 0 w 80"/>
                <a:gd name="T5" fmla="*/ 8 h 15"/>
                <a:gd name="T6" fmla="*/ 7 w 80"/>
                <a:gd name="T7" fmla="*/ 0 h 15"/>
                <a:gd name="T8" fmla="*/ 73 w 80"/>
                <a:gd name="T9" fmla="*/ 0 h 15"/>
                <a:gd name="T10" fmla="*/ 80 w 80"/>
                <a:gd name="T11" fmla="*/ 8 h 15"/>
                <a:gd name="T12" fmla="*/ 73 w 80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5">
                  <a:moveTo>
                    <a:pt x="73" y="15"/>
                  </a:moveTo>
                  <a:lnTo>
                    <a:pt x="7" y="15"/>
                  </a:lnTo>
                  <a:cubicBezTo>
                    <a:pt x="3" y="15"/>
                    <a:pt x="0" y="12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lnTo>
                    <a:pt x="73" y="0"/>
                  </a:lnTo>
                  <a:cubicBezTo>
                    <a:pt x="77" y="0"/>
                    <a:pt x="80" y="4"/>
                    <a:pt x="80" y="8"/>
                  </a:cubicBezTo>
                  <a:cubicBezTo>
                    <a:pt x="80" y="12"/>
                    <a:pt x="77" y="15"/>
                    <a:pt x="73" y="15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76">
              <a:extLst>
                <a:ext uri="{FF2B5EF4-FFF2-40B4-BE49-F238E27FC236}">
                  <a16:creationId xmlns:a16="http://schemas.microsoft.com/office/drawing/2014/main" id="{C734F4D1-BDE5-D3D2-25B7-97605D4E6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3475038"/>
              <a:ext cx="131763" cy="14288"/>
            </a:xfrm>
            <a:custGeom>
              <a:avLst/>
              <a:gdLst>
                <a:gd name="T0" fmla="*/ 138 w 145"/>
                <a:gd name="T1" fmla="*/ 15 h 15"/>
                <a:gd name="T2" fmla="*/ 7 w 145"/>
                <a:gd name="T3" fmla="*/ 15 h 15"/>
                <a:gd name="T4" fmla="*/ 0 w 145"/>
                <a:gd name="T5" fmla="*/ 7 h 15"/>
                <a:gd name="T6" fmla="*/ 7 w 145"/>
                <a:gd name="T7" fmla="*/ 0 h 15"/>
                <a:gd name="T8" fmla="*/ 138 w 145"/>
                <a:gd name="T9" fmla="*/ 0 h 15"/>
                <a:gd name="T10" fmla="*/ 145 w 145"/>
                <a:gd name="T11" fmla="*/ 7 h 15"/>
                <a:gd name="T12" fmla="*/ 138 w 145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5">
                  <a:moveTo>
                    <a:pt x="138" y="15"/>
                  </a:moveTo>
                  <a:lnTo>
                    <a:pt x="7" y="15"/>
                  </a:lnTo>
                  <a:cubicBezTo>
                    <a:pt x="3" y="15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38" y="0"/>
                  </a:lnTo>
                  <a:cubicBezTo>
                    <a:pt x="142" y="0"/>
                    <a:pt x="145" y="3"/>
                    <a:pt x="145" y="7"/>
                  </a:cubicBezTo>
                  <a:cubicBezTo>
                    <a:pt x="145" y="11"/>
                    <a:pt x="142" y="15"/>
                    <a:pt x="138" y="15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77">
              <a:extLst>
                <a:ext uri="{FF2B5EF4-FFF2-40B4-BE49-F238E27FC236}">
                  <a16:creationId xmlns:a16="http://schemas.microsoft.com/office/drawing/2014/main" id="{1769572E-01FC-CF32-1112-62AB114C3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8326" y="3475038"/>
              <a:ext cx="23813" cy="14288"/>
            </a:xfrm>
            <a:custGeom>
              <a:avLst/>
              <a:gdLst>
                <a:gd name="T0" fmla="*/ 20 w 27"/>
                <a:gd name="T1" fmla="*/ 15 h 15"/>
                <a:gd name="T2" fmla="*/ 7 w 27"/>
                <a:gd name="T3" fmla="*/ 15 h 15"/>
                <a:gd name="T4" fmla="*/ 0 w 27"/>
                <a:gd name="T5" fmla="*/ 7 h 15"/>
                <a:gd name="T6" fmla="*/ 7 w 27"/>
                <a:gd name="T7" fmla="*/ 0 h 15"/>
                <a:gd name="T8" fmla="*/ 20 w 27"/>
                <a:gd name="T9" fmla="*/ 0 h 15"/>
                <a:gd name="T10" fmla="*/ 27 w 27"/>
                <a:gd name="T11" fmla="*/ 7 h 15"/>
                <a:gd name="T12" fmla="*/ 20 w 27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5">
                  <a:moveTo>
                    <a:pt x="20" y="15"/>
                  </a:moveTo>
                  <a:lnTo>
                    <a:pt x="7" y="15"/>
                  </a:lnTo>
                  <a:cubicBezTo>
                    <a:pt x="3" y="15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20" y="0"/>
                  </a:lnTo>
                  <a:cubicBezTo>
                    <a:pt x="24" y="0"/>
                    <a:pt x="27" y="3"/>
                    <a:pt x="27" y="7"/>
                  </a:cubicBezTo>
                  <a:cubicBezTo>
                    <a:pt x="27" y="11"/>
                    <a:pt x="24" y="15"/>
                    <a:pt x="20" y="15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78">
              <a:extLst>
                <a:ext uri="{FF2B5EF4-FFF2-40B4-BE49-F238E27FC236}">
                  <a16:creationId xmlns:a16="http://schemas.microsoft.com/office/drawing/2014/main" id="{790095EA-ADFD-856E-38B9-A6227DC85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0088" y="3535363"/>
              <a:ext cx="42863" cy="12700"/>
            </a:xfrm>
            <a:custGeom>
              <a:avLst/>
              <a:gdLst>
                <a:gd name="T0" fmla="*/ 40 w 47"/>
                <a:gd name="T1" fmla="*/ 14 h 14"/>
                <a:gd name="T2" fmla="*/ 7 w 47"/>
                <a:gd name="T3" fmla="*/ 14 h 14"/>
                <a:gd name="T4" fmla="*/ 0 w 47"/>
                <a:gd name="T5" fmla="*/ 7 h 14"/>
                <a:gd name="T6" fmla="*/ 7 w 47"/>
                <a:gd name="T7" fmla="*/ 0 h 14"/>
                <a:gd name="T8" fmla="*/ 40 w 47"/>
                <a:gd name="T9" fmla="*/ 0 h 14"/>
                <a:gd name="T10" fmla="*/ 47 w 47"/>
                <a:gd name="T11" fmla="*/ 7 h 14"/>
                <a:gd name="T12" fmla="*/ 40 w 47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14">
                  <a:moveTo>
                    <a:pt x="40" y="14"/>
                  </a:moveTo>
                  <a:lnTo>
                    <a:pt x="7" y="14"/>
                  </a:ln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40" y="0"/>
                  </a:lnTo>
                  <a:cubicBezTo>
                    <a:pt x="44" y="0"/>
                    <a:pt x="47" y="3"/>
                    <a:pt x="47" y="7"/>
                  </a:cubicBezTo>
                  <a:cubicBezTo>
                    <a:pt x="47" y="11"/>
                    <a:pt x="44" y="14"/>
                    <a:pt x="40" y="1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79">
              <a:extLst>
                <a:ext uri="{FF2B5EF4-FFF2-40B4-BE49-F238E27FC236}">
                  <a16:creationId xmlns:a16="http://schemas.microsoft.com/office/drawing/2014/main" id="{4209C98A-F11E-4FC9-A970-6883D5979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8326" y="3535363"/>
              <a:ext cx="61913" cy="12700"/>
            </a:xfrm>
            <a:custGeom>
              <a:avLst/>
              <a:gdLst>
                <a:gd name="T0" fmla="*/ 62 w 69"/>
                <a:gd name="T1" fmla="*/ 14 h 14"/>
                <a:gd name="T2" fmla="*/ 7 w 69"/>
                <a:gd name="T3" fmla="*/ 14 h 14"/>
                <a:gd name="T4" fmla="*/ 0 w 69"/>
                <a:gd name="T5" fmla="*/ 7 h 14"/>
                <a:gd name="T6" fmla="*/ 7 w 69"/>
                <a:gd name="T7" fmla="*/ 0 h 14"/>
                <a:gd name="T8" fmla="*/ 62 w 69"/>
                <a:gd name="T9" fmla="*/ 0 h 14"/>
                <a:gd name="T10" fmla="*/ 69 w 69"/>
                <a:gd name="T11" fmla="*/ 7 h 14"/>
                <a:gd name="T12" fmla="*/ 62 w 69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4">
                  <a:moveTo>
                    <a:pt x="62" y="14"/>
                  </a:moveTo>
                  <a:lnTo>
                    <a:pt x="7" y="14"/>
                  </a:ln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62" y="0"/>
                  </a:lnTo>
                  <a:cubicBezTo>
                    <a:pt x="66" y="0"/>
                    <a:pt x="69" y="3"/>
                    <a:pt x="69" y="7"/>
                  </a:cubicBezTo>
                  <a:cubicBezTo>
                    <a:pt x="69" y="11"/>
                    <a:pt x="66" y="14"/>
                    <a:pt x="62" y="1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80">
              <a:extLst>
                <a:ext uri="{FF2B5EF4-FFF2-40B4-BE49-F238E27FC236}">
                  <a16:creationId xmlns:a16="http://schemas.microsoft.com/office/drawing/2014/main" id="{8DFEB848-3FC9-45D7-0813-A4FAD9D75C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276" y="3594100"/>
              <a:ext cx="236538" cy="14288"/>
            </a:xfrm>
            <a:custGeom>
              <a:avLst/>
              <a:gdLst>
                <a:gd name="T0" fmla="*/ 252 w 259"/>
                <a:gd name="T1" fmla="*/ 15 h 15"/>
                <a:gd name="T2" fmla="*/ 8 w 259"/>
                <a:gd name="T3" fmla="*/ 15 h 15"/>
                <a:gd name="T4" fmla="*/ 0 w 259"/>
                <a:gd name="T5" fmla="*/ 7 h 15"/>
                <a:gd name="T6" fmla="*/ 8 w 259"/>
                <a:gd name="T7" fmla="*/ 0 h 15"/>
                <a:gd name="T8" fmla="*/ 252 w 259"/>
                <a:gd name="T9" fmla="*/ 0 h 15"/>
                <a:gd name="T10" fmla="*/ 259 w 259"/>
                <a:gd name="T11" fmla="*/ 7 h 15"/>
                <a:gd name="T12" fmla="*/ 252 w 259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9" h="15">
                  <a:moveTo>
                    <a:pt x="252" y="15"/>
                  </a:moveTo>
                  <a:lnTo>
                    <a:pt x="8" y="15"/>
                  </a:lnTo>
                  <a:cubicBezTo>
                    <a:pt x="4" y="15"/>
                    <a:pt x="0" y="12"/>
                    <a:pt x="0" y="7"/>
                  </a:cubicBezTo>
                  <a:cubicBezTo>
                    <a:pt x="0" y="3"/>
                    <a:pt x="4" y="0"/>
                    <a:pt x="8" y="0"/>
                  </a:cubicBezTo>
                  <a:lnTo>
                    <a:pt x="252" y="0"/>
                  </a:lnTo>
                  <a:cubicBezTo>
                    <a:pt x="256" y="0"/>
                    <a:pt x="259" y="3"/>
                    <a:pt x="259" y="7"/>
                  </a:cubicBezTo>
                  <a:cubicBezTo>
                    <a:pt x="259" y="12"/>
                    <a:pt x="256" y="15"/>
                    <a:pt x="252" y="15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81">
              <a:extLst>
                <a:ext uri="{FF2B5EF4-FFF2-40B4-BE49-F238E27FC236}">
                  <a16:creationId xmlns:a16="http://schemas.microsoft.com/office/drawing/2014/main" id="{96414314-80BF-BDC2-41AB-59CD6E7F91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97876" y="3532188"/>
              <a:ext cx="120650" cy="120650"/>
            </a:xfrm>
            <a:custGeom>
              <a:avLst/>
              <a:gdLst>
                <a:gd name="T0" fmla="*/ 38 w 132"/>
                <a:gd name="T1" fmla="*/ 14 h 131"/>
                <a:gd name="T2" fmla="*/ 38 w 132"/>
                <a:gd name="T3" fmla="*/ 14 h 131"/>
                <a:gd name="T4" fmla="*/ 17 w 132"/>
                <a:gd name="T5" fmla="*/ 35 h 131"/>
                <a:gd name="T6" fmla="*/ 94 w 132"/>
                <a:gd name="T7" fmla="*/ 113 h 131"/>
                <a:gd name="T8" fmla="*/ 113 w 132"/>
                <a:gd name="T9" fmla="*/ 113 h 131"/>
                <a:gd name="T10" fmla="*/ 113 w 132"/>
                <a:gd name="T11" fmla="*/ 113 h 131"/>
                <a:gd name="T12" fmla="*/ 117 w 132"/>
                <a:gd name="T13" fmla="*/ 103 h 131"/>
                <a:gd name="T14" fmla="*/ 113 w 132"/>
                <a:gd name="T15" fmla="*/ 94 h 131"/>
                <a:gd name="T16" fmla="*/ 36 w 132"/>
                <a:gd name="T17" fmla="*/ 16 h 131"/>
                <a:gd name="T18" fmla="*/ 17 w 132"/>
                <a:gd name="T19" fmla="*/ 35 h 131"/>
                <a:gd name="T20" fmla="*/ 104 w 132"/>
                <a:gd name="T21" fmla="*/ 131 h 131"/>
                <a:gd name="T22" fmla="*/ 84 w 132"/>
                <a:gd name="T23" fmla="*/ 123 h 131"/>
                <a:gd name="T24" fmla="*/ 5 w 132"/>
                <a:gd name="T25" fmla="*/ 43 h 131"/>
                <a:gd name="T26" fmla="*/ 5 w 132"/>
                <a:gd name="T27" fmla="*/ 27 h 131"/>
                <a:gd name="T28" fmla="*/ 28 w 132"/>
                <a:gd name="T29" fmla="*/ 4 h 131"/>
                <a:gd name="T30" fmla="*/ 36 w 132"/>
                <a:gd name="T31" fmla="*/ 0 h 131"/>
                <a:gd name="T32" fmla="*/ 36 w 132"/>
                <a:gd name="T33" fmla="*/ 0 h 131"/>
                <a:gd name="T34" fmla="*/ 44 w 132"/>
                <a:gd name="T35" fmla="*/ 4 h 131"/>
                <a:gd name="T36" fmla="*/ 124 w 132"/>
                <a:gd name="T37" fmla="*/ 83 h 131"/>
                <a:gd name="T38" fmla="*/ 132 w 132"/>
                <a:gd name="T39" fmla="*/ 103 h 131"/>
                <a:gd name="T40" fmla="*/ 124 w 132"/>
                <a:gd name="T41" fmla="*/ 123 h 131"/>
                <a:gd name="T42" fmla="*/ 124 w 132"/>
                <a:gd name="T43" fmla="*/ 123 h 131"/>
                <a:gd name="T44" fmla="*/ 104 w 132"/>
                <a:gd name="T45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2" h="131">
                  <a:moveTo>
                    <a:pt x="38" y="14"/>
                  </a:moveTo>
                  <a:lnTo>
                    <a:pt x="38" y="14"/>
                  </a:lnTo>
                  <a:close/>
                  <a:moveTo>
                    <a:pt x="17" y="35"/>
                  </a:moveTo>
                  <a:lnTo>
                    <a:pt x="94" y="113"/>
                  </a:lnTo>
                  <a:cubicBezTo>
                    <a:pt x="100" y="118"/>
                    <a:pt x="108" y="118"/>
                    <a:pt x="113" y="113"/>
                  </a:cubicBezTo>
                  <a:lnTo>
                    <a:pt x="113" y="113"/>
                  </a:lnTo>
                  <a:cubicBezTo>
                    <a:pt x="116" y="110"/>
                    <a:pt x="117" y="107"/>
                    <a:pt x="117" y="103"/>
                  </a:cubicBezTo>
                  <a:cubicBezTo>
                    <a:pt x="117" y="100"/>
                    <a:pt x="116" y="96"/>
                    <a:pt x="113" y="94"/>
                  </a:cubicBezTo>
                  <a:lnTo>
                    <a:pt x="36" y="16"/>
                  </a:lnTo>
                  <a:lnTo>
                    <a:pt x="17" y="35"/>
                  </a:lnTo>
                  <a:close/>
                  <a:moveTo>
                    <a:pt x="104" y="131"/>
                  </a:moveTo>
                  <a:cubicBezTo>
                    <a:pt x="97" y="131"/>
                    <a:pt x="90" y="128"/>
                    <a:pt x="84" y="123"/>
                  </a:cubicBezTo>
                  <a:lnTo>
                    <a:pt x="5" y="43"/>
                  </a:lnTo>
                  <a:cubicBezTo>
                    <a:pt x="0" y="39"/>
                    <a:pt x="0" y="32"/>
                    <a:pt x="5" y="27"/>
                  </a:cubicBezTo>
                  <a:lnTo>
                    <a:pt x="28" y="4"/>
                  </a:lnTo>
                  <a:cubicBezTo>
                    <a:pt x="30" y="2"/>
                    <a:pt x="33" y="0"/>
                    <a:pt x="36" y="0"/>
                  </a:cubicBezTo>
                  <a:lnTo>
                    <a:pt x="36" y="0"/>
                  </a:lnTo>
                  <a:cubicBezTo>
                    <a:pt x="39" y="0"/>
                    <a:pt x="42" y="2"/>
                    <a:pt x="44" y="4"/>
                  </a:cubicBezTo>
                  <a:lnTo>
                    <a:pt x="124" y="83"/>
                  </a:lnTo>
                  <a:cubicBezTo>
                    <a:pt x="129" y="89"/>
                    <a:pt x="132" y="96"/>
                    <a:pt x="132" y="103"/>
                  </a:cubicBezTo>
                  <a:cubicBezTo>
                    <a:pt x="132" y="111"/>
                    <a:pt x="129" y="118"/>
                    <a:pt x="124" y="123"/>
                  </a:cubicBezTo>
                  <a:lnTo>
                    <a:pt x="124" y="123"/>
                  </a:lnTo>
                  <a:cubicBezTo>
                    <a:pt x="118" y="128"/>
                    <a:pt x="111" y="131"/>
                    <a:pt x="104" y="131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82">
              <a:extLst>
                <a:ext uri="{FF2B5EF4-FFF2-40B4-BE49-F238E27FC236}">
                  <a16:creationId xmlns:a16="http://schemas.microsoft.com/office/drawing/2014/main" id="{5282B41A-F2C3-2701-90E9-993A7EF72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5176" y="3519488"/>
              <a:ext cx="47625" cy="47625"/>
            </a:xfrm>
            <a:custGeom>
              <a:avLst/>
              <a:gdLst>
                <a:gd name="T0" fmla="*/ 26 w 52"/>
                <a:gd name="T1" fmla="*/ 51 h 51"/>
                <a:gd name="T2" fmla="*/ 21 w 52"/>
                <a:gd name="T3" fmla="*/ 49 h 51"/>
                <a:gd name="T4" fmla="*/ 3 w 52"/>
                <a:gd name="T5" fmla="*/ 31 h 51"/>
                <a:gd name="T6" fmla="*/ 3 w 52"/>
                <a:gd name="T7" fmla="*/ 21 h 51"/>
                <a:gd name="T8" fmla="*/ 14 w 52"/>
                <a:gd name="T9" fmla="*/ 21 h 51"/>
                <a:gd name="T10" fmla="*/ 26 w 52"/>
                <a:gd name="T11" fmla="*/ 34 h 51"/>
                <a:gd name="T12" fmla="*/ 34 w 52"/>
                <a:gd name="T13" fmla="*/ 25 h 51"/>
                <a:gd name="T14" fmla="*/ 22 w 52"/>
                <a:gd name="T15" fmla="*/ 13 h 51"/>
                <a:gd name="T16" fmla="*/ 22 w 52"/>
                <a:gd name="T17" fmla="*/ 3 h 51"/>
                <a:gd name="T18" fmla="*/ 32 w 52"/>
                <a:gd name="T19" fmla="*/ 3 h 51"/>
                <a:gd name="T20" fmla="*/ 50 w 52"/>
                <a:gd name="T21" fmla="*/ 20 h 51"/>
                <a:gd name="T22" fmla="*/ 52 w 52"/>
                <a:gd name="T23" fmla="*/ 25 h 51"/>
                <a:gd name="T24" fmla="*/ 50 w 52"/>
                <a:gd name="T25" fmla="*/ 31 h 51"/>
                <a:gd name="T26" fmla="*/ 31 w 52"/>
                <a:gd name="T27" fmla="*/ 49 h 51"/>
                <a:gd name="T28" fmla="*/ 26 w 52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" h="51">
                  <a:moveTo>
                    <a:pt x="26" y="51"/>
                  </a:moveTo>
                  <a:cubicBezTo>
                    <a:pt x="24" y="51"/>
                    <a:pt x="23" y="50"/>
                    <a:pt x="21" y="49"/>
                  </a:cubicBezTo>
                  <a:lnTo>
                    <a:pt x="3" y="31"/>
                  </a:lnTo>
                  <a:cubicBezTo>
                    <a:pt x="0" y="28"/>
                    <a:pt x="0" y="24"/>
                    <a:pt x="3" y="21"/>
                  </a:cubicBezTo>
                  <a:cubicBezTo>
                    <a:pt x="6" y="18"/>
                    <a:pt x="11" y="18"/>
                    <a:pt x="14" y="21"/>
                  </a:cubicBezTo>
                  <a:lnTo>
                    <a:pt x="26" y="34"/>
                  </a:lnTo>
                  <a:lnTo>
                    <a:pt x="34" y="25"/>
                  </a:lnTo>
                  <a:lnTo>
                    <a:pt x="22" y="13"/>
                  </a:lnTo>
                  <a:cubicBezTo>
                    <a:pt x="19" y="10"/>
                    <a:pt x="19" y="5"/>
                    <a:pt x="22" y="3"/>
                  </a:cubicBezTo>
                  <a:cubicBezTo>
                    <a:pt x="25" y="0"/>
                    <a:pt x="29" y="0"/>
                    <a:pt x="32" y="3"/>
                  </a:cubicBezTo>
                  <a:lnTo>
                    <a:pt x="50" y="20"/>
                  </a:lnTo>
                  <a:cubicBezTo>
                    <a:pt x="51" y="22"/>
                    <a:pt x="52" y="24"/>
                    <a:pt x="52" y="25"/>
                  </a:cubicBezTo>
                  <a:cubicBezTo>
                    <a:pt x="52" y="27"/>
                    <a:pt x="51" y="29"/>
                    <a:pt x="50" y="31"/>
                  </a:cubicBezTo>
                  <a:lnTo>
                    <a:pt x="31" y="49"/>
                  </a:lnTo>
                  <a:cubicBezTo>
                    <a:pt x="30" y="50"/>
                    <a:pt x="28" y="51"/>
                    <a:pt x="26" y="51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83">
              <a:extLst>
                <a:ext uri="{FF2B5EF4-FFF2-40B4-BE49-F238E27FC236}">
                  <a16:creationId xmlns:a16="http://schemas.microsoft.com/office/drawing/2014/main" id="{95661FE5-CA44-39F2-D10B-617E80DF4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3888" y="3378200"/>
              <a:ext cx="190500" cy="190500"/>
            </a:xfrm>
            <a:custGeom>
              <a:avLst/>
              <a:gdLst>
                <a:gd name="T0" fmla="*/ 105 w 209"/>
                <a:gd name="T1" fmla="*/ 14 h 208"/>
                <a:gd name="T2" fmla="*/ 41 w 209"/>
                <a:gd name="T3" fmla="*/ 41 h 208"/>
                <a:gd name="T4" fmla="*/ 15 w 209"/>
                <a:gd name="T5" fmla="*/ 104 h 208"/>
                <a:gd name="T6" fmla="*/ 41 w 209"/>
                <a:gd name="T7" fmla="*/ 167 h 208"/>
                <a:gd name="T8" fmla="*/ 168 w 209"/>
                <a:gd name="T9" fmla="*/ 167 h 208"/>
                <a:gd name="T10" fmla="*/ 194 w 209"/>
                <a:gd name="T11" fmla="*/ 104 h 208"/>
                <a:gd name="T12" fmla="*/ 168 w 209"/>
                <a:gd name="T13" fmla="*/ 41 h 208"/>
                <a:gd name="T14" fmla="*/ 105 w 209"/>
                <a:gd name="T15" fmla="*/ 14 h 208"/>
                <a:gd name="T16" fmla="*/ 105 w 209"/>
                <a:gd name="T17" fmla="*/ 208 h 208"/>
                <a:gd name="T18" fmla="*/ 31 w 209"/>
                <a:gd name="T19" fmla="*/ 178 h 208"/>
                <a:gd name="T20" fmla="*/ 0 w 209"/>
                <a:gd name="T21" fmla="*/ 104 h 208"/>
                <a:gd name="T22" fmla="*/ 31 w 209"/>
                <a:gd name="T23" fmla="*/ 30 h 208"/>
                <a:gd name="T24" fmla="*/ 105 w 209"/>
                <a:gd name="T25" fmla="*/ 0 h 208"/>
                <a:gd name="T26" fmla="*/ 178 w 209"/>
                <a:gd name="T27" fmla="*/ 30 h 208"/>
                <a:gd name="T28" fmla="*/ 178 w 209"/>
                <a:gd name="T29" fmla="*/ 30 h 208"/>
                <a:gd name="T30" fmla="*/ 209 w 209"/>
                <a:gd name="T31" fmla="*/ 104 h 208"/>
                <a:gd name="T32" fmla="*/ 178 w 209"/>
                <a:gd name="T33" fmla="*/ 178 h 208"/>
                <a:gd name="T34" fmla="*/ 105 w 209"/>
                <a:gd name="T35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9" h="208">
                  <a:moveTo>
                    <a:pt x="105" y="14"/>
                  </a:moveTo>
                  <a:cubicBezTo>
                    <a:pt x="81" y="14"/>
                    <a:pt x="58" y="24"/>
                    <a:pt x="41" y="41"/>
                  </a:cubicBezTo>
                  <a:cubicBezTo>
                    <a:pt x="24" y="58"/>
                    <a:pt x="15" y="80"/>
                    <a:pt x="15" y="104"/>
                  </a:cubicBezTo>
                  <a:cubicBezTo>
                    <a:pt x="15" y="128"/>
                    <a:pt x="24" y="150"/>
                    <a:pt x="41" y="167"/>
                  </a:cubicBezTo>
                  <a:cubicBezTo>
                    <a:pt x="76" y="202"/>
                    <a:pt x="133" y="202"/>
                    <a:pt x="168" y="167"/>
                  </a:cubicBezTo>
                  <a:cubicBezTo>
                    <a:pt x="185" y="150"/>
                    <a:pt x="194" y="128"/>
                    <a:pt x="194" y="104"/>
                  </a:cubicBezTo>
                  <a:cubicBezTo>
                    <a:pt x="194" y="80"/>
                    <a:pt x="185" y="58"/>
                    <a:pt x="168" y="41"/>
                  </a:cubicBezTo>
                  <a:cubicBezTo>
                    <a:pt x="151" y="24"/>
                    <a:pt x="129" y="14"/>
                    <a:pt x="105" y="14"/>
                  </a:cubicBezTo>
                  <a:close/>
                  <a:moveTo>
                    <a:pt x="105" y="208"/>
                  </a:moveTo>
                  <a:cubicBezTo>
                    <a:pt x="78" y="208"/>
                    <a:pt x="51" y="198"/>
                    <a:pt x="31" y="178"/>
                  </a:cubicBezTo>
                  <a:cubicBezTo>
                    <a:pt x="11" y="158"/>
                    <a:pt x="0" y="132"/>
                    <a:pt x="0" y="104"/>
                  </a:cubicBezTo>
                  <a:cubicBezTo>
                    <a:pt x="0" y="76"/>
                    <a:pt x="11" y="50"/>
                    <a:pt x="31" y="30"/>
                  </a:cubicBezTo>
                  <a:cubicBezTo>
                    <a:pt x="51" y="11"/>
                    <a:pt x="77" y="0"/>
                    <a:pt x="105" y="0"/>
                  </a:cubicBezTo>
                  <a:cubicBezTo>
                    <a:pt x="133" y="0"/>
                    <a:pt x="159" y="11"/>
                    <a:pt x="178" y="30"/>
                  </a:cubicBezTo>
                  <a:lnTo>
                    <a:pt x="178" y="30"/>
                  </a:lnTo>
                  <a:cubicBezTo>
                    <a:pt x="198" y="50"/>
                    <a:pt x="209" y="76"/>
                    <a:pt x="209" y="104"/>
                  </a:cubicBezTo>
                  <a:cubicBezTo>
                    <a:pt x="209" y="132"/>
                    <a:pt x="198" y="158"/>
                    <a:pt x="178" y="178"/>
                  </a:cubicBezTo>
                  <a:cubicBezTo>
                    <a:pt x="158" y="198"/>
                    <a:pt x="131" y="208"/>
                    <a:pt x="105" y="208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84">
              <a:extLst>
                <a:ext uri="{FF2B5EF4-FFF2-40B4-BE49-F238E27FC236}">
                  <a16:creationId xmlns:a16="http://schemas.microsoft.com/office/drawing/2014/main" id="{81CB8D85-D826-C2BC-6D34-AAE01F054F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38" y="3367088"/>
              <a:ext cx="74613" cy="88900"/>
            </a:xfrm>
            <a:custGeom>
              <a:avLst/>
              <a:gdLst>
                <a:gd name="T0" fmla="*/ 40 w 81"/>
                <a:gd name="T1" fmla="*/ 15 h 98"/>
                <a:gd name="T2" fmla="*/ 14 w 81"/>
                <a:gd name="T3" fmla="*/ 49 h 98"/>
                <a:gd name="T4" fmla="*/ 40 w 81"/>
                <a:gd name="T5" fmla="*/ 83 h 98"/>
                <a:gd name="T6" fmla="*/ 66 w 81"/>
                <a:gd name="T7" fmla="*/ 49 h 98"/>
                <a:gd name="T8" fmla="*/ 40 w 81"/>
                <a:gd name="T9" fmla="*/ 15 h 98"/>
                <a:gd name="T10" fmla="*/ 40 w 81"/>
                <a:gd name="T11" fmla="*/ 98 h 98"/>
                <a:gd name="T12" fmla="*/ 0 w 81"/>
                <a:gd name="T13" fmla="*/ 49 h 98"/>
                <a:gd name="T14" fmla="*/ 40 w 81"/>
                <a:gd name="T15" fmla="*/ 0 h 98"/>
                <a:gd name="T16" fmla="*/ 81 w 81"/>
                <a:gd name="T17" fmla="*/ 49 h 98"/>
                <a:gd name="T18" fmla="*/ 40 w 81"/>
                <a:gd name="T19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98">
                  <a:moveTo>
                    <a:pt x="40" y="15"/>
                  </a:moveTo>
                  <a:cubicBezTo>
                    <a:pt x="26" y="15"/>
                    <a:pt x="14" y="30"/>
                    <a:pt x="14" y="49"/>
                  </a:cubicBezTo>
                  <a:cubicBezTo>
                    <a:pt x="14" y="68"/>
                    <a:pt x="26" y="83"/>
                    <a:pt x="40" y="83"/>
                  </a:cubicBezTo>
                  <a:cubicBezTo>
                    <a:pt x="55" y="83"/>
                    <a:pt x="66" y="68"/>
                    <a:pt x="66" y="49"/>
                  </a:cubicBezTo>
                  <a:cubicBezTo>
                    <a:pt x="66" y="30"/>
                    <a:pt x="55" y="15"/>
                    <a:pt x="40" y="15"/>
                  </a:cubicBezTo>
                  <a:close/>
                  <a:moveTo>
                    <a:pt x="40" y="98"/>
                  </a:moveTo>
                  <a:cubicBezTo>
                    <a:pt x="18" y="98"/>
                    <a:pt x="0" y="76"/>
                    <a:pt x="0" y="49"/>
                  </a:cubicBezTo>
                  <a:cubicBezTo>
                    <a:pt x="0" y="22"/>
                    <a:pt x="18" y="0"/>
                    <a:pt x="40" y="0"/>
                  </a:cubicBezTo>
                  <a:cubicBezTo>
                    <a:pt x="63" y="0"/>
                    <a:pt x="81" y="22"/>
                    <a:pt x="81" y="49"/>
                  </a:cubicBezTo>
                  <a:cubicBezTo>
                    <a:pt x="81" y="76"/>
                    <a:pt x="63" y="98"/>
                    <a:pt x="40" y="98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 85">
              <a:extLst>
                <a:ext uri="{FF2B5EF4-FFF2-40B4-BE49-F238E27FC236}">
                  <a16:creationId xmlns:a16="http://schemas.microsoft.com/office/drawing/2014/main" id="{DB5676FE-DABD-B67E-C535-9605CCE2C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5926" y="3463925"/>
              <a:ext cx="147638" cy="128588"/>
            </a:xfrm>
            <a:custGeom>
              <a:avLst/>
              <a:gdLst>
                <a:gd name="T0" fmla="*/ 40 w 161"/>
                <a:gd name="T1" fmla="*/ 140 h 141"/>
                <a:gd name="T2" fmla="*/ 37 w 161"/>
                <a:gd name="T3" fmla="*/ 140 h 141"/>
                <a:gd name="T4" fmla="*/ 0 w 161"/>
                <a:gd name="T5" fmla="*/ 84 h 141"/>
                <a:gd name="T6" fmla="*/ 0 w 161"/>
                <a:gd name="T7" fmla="*/ 60 h 141"/>
                <a:gd name="T8" fmla="*/ 59 w 161"/>
                <a:gd name="T9" fmla="*/ 0 h 141"/>
                <a:gd name="T10" fmla="*/ 101 w 161"/>
                <a:gd name="T11" fmla="*/ 0 h 141"/>
                <a:gd name="T12" fmla="*/ 161 w 161"/>
                <a:gd name="T13" fmla="*/ 60 h 141"/>
                <a:gd name="T14" fmla="*/ 161 w 161"/>
                <a:gd name="T15" fmla="*/ 84 h 141"/>
                <a:gd name="T16" fmla="*/ 123 w 161"/>
                <a:gd name="T17" fmla="*/ 140 h 141"/>
                <a:gd name="T18" fmla="*/ 114 w 161"/>
                <a:gd name="T19" fmla="*/ 136 h 141"/>
                <a:gd name="T20" fmla="*/ 118 w 161"/>
                <a:gd name="T21" fmla="*/ 126 h 141"/>
                <a:gd name="T22" fmla="*/ 146 w 161"/>
                <a:gd name="T23" fmla="*/ 84 h 141"/>
                <a:gd name="T24" fmla="*/ 146 w 161"/>
                <a:gd name="T25" fmla="*/ 60 h 141"/>
                <a:gd name="T26" fmla="*/ 101 w 161"/>
                <a:gd name="T27" fmla="*/ 14 h 141"/>
                <a:gd name="T28" fmla="*/ 59 w 161"/>
                <a:gd name="T29" fmla="*/ 14 h 141"/>
                <a:gd name="T30" fmla="*/ 14 w 161"/>
                <a:gd name="T31" fmla="*/ 60 h 141"/>
                <a:gd name="T32" fmla="*/ 14 w 161"/>
                <a:gd name="T33" fmla="*/ 84 h 141"/>
                <a:gd name="T34" fmla="*/ 43 w 161"/>
                <a:gd name="T35" fmla="*/ 126 h 141"/>
                <a:gd name="T36" fmla="*/ 47 w 161"/>
                <a:gd name="T37" fmla="*/ 136 h 141"/>
                <a:gd name="T38" fmla="*/ 40 w 161"/>
                <a:gd name="T39" fmla="*/ 14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1" h="141">
                  <a:moveTo>
                    <a:pt x="40" y="140"/>
                  </a:moveTo>
                  <a:cubicBezTo>
                    <a:pt x="39" y="140"/>
                    <a:pt x="38" y="140"/>
                    <a:pt x="37" y="140"/>
                  </a:cubicBezTo>
                  <a:cubicBezTo>
                    <a:pt x="14" y="131"/>
                    <a:pt x="0" y="109"/>
                    <a:pt x="0" y="84"/>
                  </a:cubicBezTo>
                  <a:lnTo>
                    <a:pt x="0" y="60"/>
                  </a:lnTo>
                  <a:cubicBezTo>
                    <a:pt x="0" y="27"/>
                    <a:pt x="26" y="0"/>
                    <a:pt x="59" y="0"/>
                  </a:cubicBezTo>
                  <a:lnTo>
                    <a:pt x="101" y="0"/>
                  </a:lnTo>
                  <a:cubicBezTo>
                    <a:pt x="134" y="0"/>
                    <a:pt x="161" y="27"/>
                    <a:pt x="161" y="60"/>
                  </a:cubicBezTo>
                  <a:lnTo>
                    <a:pt x="161" y="84"/>
                  </a:lnTo>
                  <a:cubicBezTo>
                    <a:pt x="161" y="109"/>
                    <a:pt x="146" y="131"/>
                    <a:pt x="123" y="140"/>
                  </a:cubicBezTo>
                  <a:cubicBezTo>
                    <a:pt x="119" y="141"/>
                    <a:pt x="115" y="139"/>
                    <a:pt x="114" y="136"/>
                  </a:cubicBezTo>
                  <a:cubicBezTo>
                    <a:pt x="112" y="132"/>
                    <a:pt x="114" y="128"/>
                    <a:pt x="118" y="126"/>
                  </a:cubicBezTo>
                  <a:cubicBezTo>
                    <a:pt x="135" y="119"/>
                    <a:pt x="146" y="103"/>
                    <a:pt x="146" y="84"/>
                  </a:cubicBezTo>
                  <a:lnTo>
                    <a:pt x="146" y="60"/>
                  </a:lnTo>
                  <a:cubicBezTo>
                    <a:pt x="146" y="35"/>
                    <a:pt x="126" y="14"/>
                    <a:pt x="101" y="14"/>
                  </a:cubicBezTo>
                  <a:lnTo>
                    <a:pt x="59" y="14"/>
                  </a:lnTo>
                  <a:cubicBezTo>
                    <a:pt x="34" y="14"/>
                    <a:pt x="14" y="35"/>
                    <a:pt x="14" y="60"/>
                  </a:cubicBezTo>
                  <a:lnTo>
                    <a:pt x="14" y="84"/>
                  </a:lnTo>
                  <a:cubicBezTo>
                    <a:pt x="14" y="103"/>
                    <a:pt x="25" y="119"/>
                    <a:pt x="43" y="126"/>
                  </a:cubicBezTo>
                  <a:cubicBezTo>
                    <a:pt x="46" y="128"/>
                    <a:pt x="48" y="132"/>
                    <a:pt x="47" y="136"/>
                  </a:cubicBezTo>
                  <a:cubicBezTo>
                    <a:pt x="46" y="139"/>
                    <a:pt x="43" y="140"/>
                    <a:pt x="40" y="140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 86">
              <a:extLst>
                <a:ext uri="{FF2B5EF4-FFF2-40B4-BE49-F238E27FC236}">
                  <a16:creationId xmlns:a16="http://schemas.microsoft.com/office/drawing/2014/main" id="{B0F447B8-64DF-A920-A11B-2528DCD68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2601" y="3579813"/>
              <a:ext cx="14288" cy="100013"/>
            </a:xfrm>
            <a:custGeom>
              <a:avLst/>
              <a:gdLst>
                <a:gd name="T0" fmla="*/ 7 w 15"/>
                <a:gd name="T1" fmla="*/ 110 h 110"/>
                <a:gd name="T2" fmla="*/ 0 w 15"/>
                <a:gd name="T3" fmla="*/ 103 h 110"/>
                <a:gd name="T4" fmla="*/ 0 w 15"/>
                <a:gd name="T5" fmla="*/ 7 h 110"/>
                <a:gd name="T6" fmla="*/ 7 w 15"/>
                <a:gd name="T7" fmla="*/ 0 h 110"/>
                <a:gd name="T8" fmla="*/ 15 w 15"/>
                <a:gd name="T9" fmla="*/ 7 h 110"/>
                <a:gd name="T10" fmla="*/ 15 w 15"/>
                <a:gd name="T11" fmla="*/ 103 h 110"/>
                <a:gd name="T12" fmla="*/ 7 w 15"/>
                <a:gd name="T1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10">
                  <a:moveTo>
                    <a:pt x="7" y="110"/>
                  </a:moveTo>
                  <a:cubicBezTo>
                    <a:pt x="3" y="110"/>
                    <a:pt x="0" y="107"/>
                    <a:pt x="0" y="103"/>
                  </a:cubicBezTo>
                  <a:lnTo>
                    <a:pt x="0" y="7"/>
                  </a:ln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lnTo>
                    <a:pt x="15" y="103"/>
                  </a:lnTo>
                  <a:cubicBezTo>
                    <a:pt x="15" y="107"/>
                    <a:pt x="11" y="110"/>
                    <a:pt x="7" y="110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 87">
              <a:extLst>
                <a:ext uri="{FF2B5EF4-FFF2-40B4-BE49-F238E27FC236}">
                  <a16:creationId xmlns:a16="http://schemas.microsoft.com/office/drawing/2014/main" id="{DE8103CA-62D6-C2E8-8E85-6E87A118A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7676" y="3503613"/>
              <a:ext cx="84138" cy="188913"/>
            </a:xfrm>
            <a:custGeom>
              <a:avLst/>
              <a:gdLst>
                <a:gd name="T0" fmla="*/ 28 w 93"/>
                <a:gd name="T1" fmla="*/ 200 h 207"/>
                <a:gd name="T2" fmla="*/ 2 w 93"/>
                <a:gd name="T3" fmla="*/ 191 h 207"/>
                <a:gd name="T4" fmla="*/ 0 w 93"/>
                <a:gd name="T5" fmla="*/ 185 h 207"/>
                <a:gd name="T6" fmla="*/ 0 w 93"/>
                <a:gd name="T7" fmla="*/ 8 h 207"/>
                <a:gd name="T8" fmla="*/ 7 w 93"/>
                <a:gd name="T9" fmla="*/ 0 h 207"/>
                <a:gd name="T10" fmla="*/ 15 w 93"/>
                <a:gd name="T11" fmla="*/ 8 h 207"/>
                <a:gd name="T12" fmla="*/ 15 w 93"/>
                <a:gd name="T13" fmla="*/ 181 h 207"/>
                <a:gd name="T14" fmla="*/ 41 w 93"/>
                <a:gd name="T15" fmla="*/ 180 h 207"/>
                <a:gd name="T16" fmla="*/ 51 w 93"/>
                <a:gd name="T17" fmla="*/ 180 h 207"/>
                <a:gd name="T18" fmla="*/ 78 w 93"/>
                <a:gd name="T19" fmla="*/ 181 h 207"/>
                <a:gd name="T20" fmla="*/ 78 w 93"/>
                <a:gd name="T21" fmla="*/ 8 h 207"/>
                <a:gd name="T22" fmla="*/ 85 w 93"/>
                <a:gd name="T23" fmla="*/ 0 h 207"/>
                <a:gd name="T24" fmla="*/ 93 w 93"/>
                <a:gd name="T25" fmla="*/ 8 h 207"/>
                <a:gd name="T26" fmla="*/ 93 w 93"/>
                <a:gd name="T27" fmla="*/ 185 h 207"/>
                <a:gd name="T28" fmla="*/ 90 w 93"/>
                <a:gd name="T29" fmla="*/ 191 h 207"/>
                <a:gd name="T30" fmla="*/ 46 w 93"/>
                <a:gd name="T31" fmla="*/ 195 h 207"/>
                <a:gd name="T32" fmla="*/ 28 w 93"/>
                <a:gd name="T33" fmla="*/ 20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3" h="207">
                  <a:moveTo>
                    <a:pt x="28" y="200"/>
                  </a:moveTo>
                  <a:cubicBezTo>
                    <a:pt x="17" y="200"/>
                    <a:pt x="8" y="195"/>
                    <a:pt x="2" y="191"/>
                  </a:cubicBezTo>
                  <a:cubicBezTo>
                    <a:pt x="1" y="189"/>
                    <a:pt x="0" y="187"/>
                    <a:pt x="0" y="185"/>
                  </a:cubicBezTo>
                  <a:lnTo>
                    <a:pt x="0" y="8"/>
                  </a:lnTo>
                  <a:cubicBezTo>
                    <a:pt x="0" y="4"/>
                    <a:pt x="3" y="0"/>
                    <a:pt x="7" y="0"/>
                  </a:cubicBezTo>
                  <a:cubicBezTo>
                    <a:pt x="11" y="0"/>
                    <a:pt x="15" y="4"/>
                    <a:pt x="15" y="8"/>
                  </a:cubicBezTo>
                  <a:lnTo>
                    <a:pt x="15" y="181"/>
                  </a:lnTo>
                  <a:cubicBezTo>
                    <a:pt x="20" y="185"/>
                    <a:pt x="31" y="190"/>
                    <a:pt x="41" y="180"/>
                  </a:cubicBezTo>
                  <a:cubicBezTo>
                    <a:pt x="44" y="177"/>
                    <a:pt x="49" y="177"/>
                    <a:pt x="51" y="180"/>
                  </a:cubicBezTo>
                  <a:cubicBezTo>
                    <a:pt x="62" y="190"/>
                    <a:pt x="73" y="185"/>
                    <a:pt x="78" y="181"/>
                  </a:cubicBezTo>
                  <a:lnTo>
                    <a:pt x="78" y="8"/>
                  </a:lnTo>
                  <a:cubicBezTo>
                    <a:pt x="78" y="4"/>
                    <a:pt x="81" y="0"/>
                    <a:pt x="85" y="0"/>
                  </a:cubicBezTo>
                  <a:cubicBezTo>
                    <a:pt x="89" y="0"/>
                    <a:pt x="93" y="4"/>
                    <a:pt x="93" y="8"/>
                  </a:cubicBezTo>
                  <a:lnTo>
                    <a:pt x="93" y="185"/>
                  </a:lnTo>
                  <a:cubicBezTo>
                    <a:pt x="93" y="187"/>
                    <a:pt x="92" y="189"/>
                    <a:pt x="90" y="191"/>
                  </a:cubicBezTo>
                  <a:cubicBezTo>
                    <a:pt x="82" y="198"/>
                    <a:pt x="63" y="207"/>
                    <a:pt x="46" y="195"/>
                  </a:cubicBezTo>
                  <a:cubicBezTo>
                    <a:pt x="40" y="199"/>
                    <a:pt x="34" y="200"/>
                    <a:pt x="28" y="200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0" name="Picture 29" descr="dang ppt cont bot.png">
            <a:extLst>
              <a:ext uri="{FF2B5EF4-FFF2-40B4-BE49-F238E27FC236}">
                <a16:creationId xmlns:a16="http://schemas.microsoft.com/office/drawing/2014/main" id="{83ABFA5E-DE50-1FF5-D3FC-137CFB856EE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67079"/>
            <a:ext cx="12192000" cy="690921"/>
          </a:xfrm>
          <a:prstGeom prst="rect">
            <a:avLst/>
          </a:prstGeom>
        </p:spPr>
      </p:pic>
      <p:pic>
        <p:nvPicPr>
          <p:cNvPr id="31" name="Picture 30" descr="dang ppt cont top 2.png">
            <a:extLst>
              <a:ext uri="{FF2B5EF4-FFF2-40B4-BE49-F238E27FC236}">
                <a16:creationId xmlns:a16="http://schemas.microsoft.com/office/drawing/2014/main" id="{6062F56B-07BB-5B50-E976-2AA8CC3537D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8215" y="158993"/>
            <a:ext cx="990600" cy="114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503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D1E290B-833F-467D-81D5-AB8423F80F75}"/>
              </a:ext>
            </a:extLst>
          </p:cNvPr>
          <p:cNvGrpSpPr/>
          <p:nvPr/>
        </p:nvGrpSpPr>
        <p:grpSpPr>
          <a:xfrm>
            <a:off x="4038983" y="4701537"/>
            <a:ext cx="3357511" cy="841262"/>
            <a:chOff x="2833739" y="5301208"/>
            <a:chExt cx="3357511" cy="841262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7B8C4D3C-31C9-47FD-AB53-67708063B367}"/>
                </a:ext>
              </a:extLst>
            </p:cNvPr>
            <p:cNvSpPr/>
            <p:nvPr/>
          </p:nvSpPr>
          <p:spPr>
            <a:xfrm>
              <a:off x="2833739" y="5301208"/>
              <a:ext cx="3357511" cy="841262"/>
            </a:xfrm>
            <a:prstGeom prst="ellipse">
              <a:avLst/>
            </a:prstGeom>
            <a:solidFill>
              <a:schemeClr val="tx1">
                <a:lumMod val="50000"/>
                <a:lumOff val="50000"/>
                <a:alpha val="51000"/>
              </a:schemeClr>
            </a:soli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CE66991-2F15-466C-8960-98034F820FC0}"/>
                </a:ext>
              </a:extLst>
            </p:cNvPr>
            <p:cNvSpPr/>
            <p:nvPr/>
          </p:nvSpPr>
          <p:spPr>
            <a:xfrm>
              <a:off x="3481626" y="5487505"/>
              <a:ext cx="1728921" cy="433200"/>
            </a:xfrm>
            <a:prstGeom prst="ellipse">
              <a:avLst/>
            </a:prstGeom>
            <a:solidFill>
              <a:schemeClr val="tx1">
                <a:lumMod val="50000"/>
                <a:lumOff val="50000"/>
                <a:alpha val="51000"/>
              </a:schemeClr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96BA503-C7E2-458D-86CE-14E2BFB22F64}"/>
              </a:ext>
            </a:extLst>
          </p:cNvPr>
          <p:cNvSpPr txBox="1"/>
          <p:nvPr/>
        </p:nvSpPr>
        <p:spPr>
          <a:xfrm>
            <a:off x="7486043" y="1722120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Links with Part 141  (Safety Training)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90A295-1094-4995-B9C5-214558A28872}"/>
              </a:ext>
            </a:extLst>
          </p:cNvPr>
          <p:cNvSpPr txBox="1"/>
          <p:nvPr/>
        </p:nvSpPr>
        <p:spPr>
          <a:xfrm>
            <a:off x="7476091" y="1466141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+mn-cs"/>
              </a:rPr>
              <a:t>General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8BC12CD-A055-4D23-AE11-A40AA534A162}"/>
              </a:ext>
            </a:extLst>
          </p:cNvPr>
          <p:cNvCxnSpPr>
            <a:cxnSpLocks/>
          </p:cNvCxnSpPr>
          <p:nvPr/>
        </p:nvCxnSpPr>
        <p:spPr>
          <a:xfrm>
            <a:off x="7393862" y="1714514"/>
            <a:ext cx="3600000" cy="2612"/>
          </a:xfrm>
          <a:prstGeom prst="line">
            <a:avLst/>
          </a:prstGeom>
          <a:ln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F8430E1-709F-4FAB-8921-4460DFB1B91C}"/>
              </a:ext>
            </a:extLst>
          </p:cNvPr>
          <p:cNvSpPr txBox="1"/>
          <p:nvPr/>
        </p:nvSpPr>
        <p:spPr>
          <a:xfrm>
            <a:off x="1121415" y="2508141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Application and the approval process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32EE89-DB4D-44DE-A5C4-89AD1AF9996A}"/>
              </a:ext>
            </a:extLst>
          </p:cNvPr>
          <p:cNvSpPr txBox="1"/>
          <p:nvPr/>
        </p:nvSpPr>
        <p:spPr>
          <a:xfrm>
            <a:off x="1121415" y="2231141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+mn-cs"/>
              </a:rPr>
              <a:t>Requirements for approval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B2043EA-6852-4A0F-9979-3B60031BEA3F}"/>
              </a:ext>
            </a:extLst>
          </p:cNvPr>
          <p:cNvCxnSpPr>
            <a:cxnSpLocks/>
          </p:cNvCxnSpPr>
          <p:nvPr/>
        </p:nvCxnSpPr>
        <p:spPr>
          <a:xfrm>
            <a:off x="978279" y="2508140"/>
            <a:ext cx="3600000" cy="0"/>
          </a:xfrm>
          <a:prstGeom prst="line">
            <a:avLst/>
          </a:prstGeom>
          <a:ln>
            <a:solidFill>
              <a:schemeClr val="accent4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8F64A1C-0A53-47B1-84CC-FB02DE978A94}"/>
              </a:ext>
            </a:extLst>
          </p:cNvPr>
          <p:cNvSpPr txBox="1"/>
          <p:nvPr/>
        </p:nvSpPr>
        <p:spPr>
          <a:xfrm>
            <a:off x="7486043" y="3303647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Training procedures manual requirements . 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E2ED025-0BB5-4246-9649-91BA3E537B90}"/>
              </a:ext>
            </a:extLst>
          </p:cNvPr>
          <p:cNvSpPr txBox="1"/>
          <p:nvPr/>
        </p:nvSpPr>
        <p:spPr>
          <a:xfrm>
            <a:off x="7476091" y="3047667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+mn-cs"/>
              </a:rPr>
              <a:t>Training Procedures Manual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887337D-435D-4836-9A63-E71679B64105}"/>
              </a:ext>
            </a:extLst>
          </p:cNvPr>
          <p:cNvCxnSpPr>
            <a:cxnSpLocks/>
          </p:cNvCxnSpPr>
          <p:nvPr/>
        </p:nvCxnSpPr>
        <p:spPr>
          <a:xfrm>
            <a:off x="7476091" y="3294590"/>
            <a:ext cx="3600000" cy="2612"/>
          </a:xfrm>
          <a:prstGeom prst="line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2234AAD-AC05-4A1A-A6E4-ECE64F301D6D}"/>
              </a:ext>
            </a:extLst>
          </p:cNvPr>
          <p:cNvSpPr txBox="1"/>
          <p:nvPr/>
        </p:nvSpPr>
        <p:spPr>
          <a:xfrm>
            <a:off x="1121415" y="3981103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Record keeping requirements . 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B38D09-A0FD-4C37-A6F8-5F450BA01968}"/>
              </a:ext>
            </a:extLst>
          </p:cNvPr>
          <p:cNvSpPr txBox="1"/>
          <p:nvPr/>
        </p:nvSpPr>
        <p:spPr>
          <a:xfrm>
            <a:off x="1121415" y="3704103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+mn-cs"/>
              </a:rPr>
              <a:t>Record Keeping 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3117A4-19C3-4167-8B4E-317B7B602005}"/>
              </a:ext>
            </a:extLst>
          </p:cNvPr>
          <p:cNvCxnSpPr>
            <a:cxnSpLocks/>
          </p:cNvCxnSpPr>
          <p:nvPr/>
        </p:nvCxnSpPr>
        <p:spPr>
          <a:xfrm>
            <a:off x="978279" y="3981102"/>
            <a:ext cx="3600000" cy="0"/>
          </a:xfrm>
          <a:prstGeom prst="line">
            <a:avLst/>
          </a:prstGeom>
          <a:ln>
            <a:solidFill>
              <a:schemeClr val="accent2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5B877E8-FF49-4E36-AC07-6D866E7F9A06}"/>
              </a:ext>
            </a:extLst>
          </p:cNvPr>
          <p:cNvGrpSpPr/>
          <p:nvPr/>
        </p:nvGrpSpPr>
        <p:grpSpPr>
          <a:xfrm>
            <a:off x="5225240" y="1339889"/>
            <a:ext cx="1402743" cy="3758132"/>
            <a:chOff x="2411760" y="1109886"/>
            <a:chExt cx="1752575" cy="4695378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3B073DB-53D1-4FDC-BF4E-68B7113A3A67}"/>
                </a:ext>
              </a:extLst>
            </p:cNvPr>
            <p:cNvSpPr/>
            <p:nvPr/>
          </p:nvSpPr>
          <p:spPr>
            <a:xfrm>
              <a:off x="2411760" y="1109886"/>
              <a:ext cx="936104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scene3d>
              <a:camera prst="obliqueBottomRight">
                <a:rot lat="21299999" lon="0" rev="0"/>
              </a:camera>
              <a:lightRig rig="balanced" dir="t"/>
            </a:scene3d>
            <a:sp3d extrusionH="527050" prstMaterial="matte">
              <a:extrusionClr>
                <a:schemeClr val="accent5"/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6338E53-F799-40E0-AF16-17E6E9465302}"/>
                </a:ext>
              </a:extLst>
            </p:cNvPr>
            <p:cNvSpPr/>
            <p:nvPr/>
          </p:nvSpPr>
          <p:spPr>
            <a:xfrm>
              <a:off x="3228231" y="2036465"/>
              <a:ext cx="936104" cy="9361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scene3d>
              <a:camera prst="obliqueBottomRight">
                <a:rot lat="21299999" lon="0" rev="0"/>
              </a:camera>
              <a:lightRig rig="balanced" dir="t"/>
            </a:scene3d>
            <a:sp3d extrusionH="457200" prstMaterial="matte">
              <a:extrusionClr>
                <a:schemeClr val="accent4"/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F8AA8EA-3F81-4B6B-B558-41B6AC1AE61D}"/>
                </a:ext>
              </a:extLst>
            </p:cNvPr>
            <p:cNvSpPr/>
            <p:nvPr/>
          </p:nvSpPr>
          <p:spPr>
            <a:xfrm>
              <a:off x="2411760" y="2977902"/>
              <a:ext cx="936104" cy="93610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scene3d>
              <a:camera prst="obliqueBottomRight"/>
              <a:lightRig rig="balanced" dir="t"/>
            </a:scene3d>
            <a:sp3d extrusionH="508000" prstMaterial="matte">
              <a:extrusionClr>
                <a:schemeClr val="accent3"/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9354458-87E2-4B01-AD84-7568ECA2B475}"/>
                </a:ext>
              </a:extLst>
            </p:cNvPr>
            <p:cNvSpPr/>
            <p:nvPr/>
          </p:nvSpPr>
          <p:spPr>
            <a:xfrm>
              <a:off x="2411760" y="4869160"/>
              <a:ext cx="936104" cy="936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scene3d>
              <a:camera prst="obliqueTopRight"/>
              <a:lightRig rig="balanced" dir="t"/>
            </a:scene3d>
            <a:sp3d extrusionH="558800" prstMaterial="matte">
              <a:extrusionClr>
                <a:schemeClr val="accent1"/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D3C5BDB-988A-4982-9C86-9D61840FDE39}"/>
                </a:ext>
              </a:extLst>
            </p:cNvPr>
            <p:cNvSpPr/>
            <p:nvPr/>
          </p:nvSpPr>
          <p:spPr>
            <a:xfrm>
              <a:off x="3228231" y="3933056"/>
              <a:ext cx="936104" cy="93610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scene3d>
              <a:camera prst="perspectiveLeft"/>
              <a:lightRig rig="balanced" dir="t"/>
            </a:scene3d>
            <a:sp3d extrusionH="508000" prstMaterial="matte">
              <a:extrusionClr>
                <a:schemeClr val="accent2"/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24C5E7C0-B6FE-4E2A-9714-601376BF3B97}"/>
              </a:ext>
            </a:extLst>
          </p:cNvPr>
          <p:cNvSpPr txBox="1"/>
          <p:nvPr/>
        </p:nvSpPr>
        <p:spPr>
          <a:xfrm>
            <a:off x="7486043" y="4701515"/>
            <a:ext cx="338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rsonnel requirement and record keeping requirements . 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A4391DF-8494-44C1-B1E8-45D011C26DE3}"/>
              </a:ext>
            </a:extLst>
          </p:cNvPr>
          <p:cNvSpPr txBox="1"/>
          <p:nvPr/>
        </p:nvSpPr>
        <p:spPr>
          <a:xfrm>
            <a:off x="7476091" y="4445535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+mn-cs"/>
              </a:rPr>
              <a:t>Personnel Requirements 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C6DD1DF-FF4C-4A36-8B2A-7B3EC9489E53}"/>
              </a:ext>
            </a:extLst>
          </p:cNvPr>
          <p:cNvCxnSpPr>
            <a:cxnSpLocks/>
          </p:cNvCxnSpPr>
          <p:nvPr/>
        </p:nvCxnSpPr>
        <p:spPr>
          <a:xfrm>
            <a:off x="7393862" y="4693909"/>
            <a:ext cx="3600000" cy="2612"/>
          </a:xfrm>
          <a:prstGeom prst="line">
            <a:avLst/>
          </a:prstGeom>
          <a:ln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9">
            <a:extLst>
              <a:ext uri="{FF2B5EF4-FFF2-40B4-BE49-F238E27FC236}">
                <a16:creationId xmlns:a16="http://schemas.microsoft.com/office/drawing/2014/main" id="{FAA98416-0251-41FF-83E8-7B4F922A38F6}"/>
              </a:ext>
            </a:extLst>
          </p:cNvPr>
          <p:cNvSpPr/>
          <p:nvPr/>
        </p:nvSpPr>
        <p:spPr>
          <a:xfrm>
            <a:off x="5388275" y="3073710"/>
            <a:ext cx="329463" cy="308407"/>
          </a:xfrm>
          <a:custGeom>
            <a:avLst/>
            <a:gdLst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2991331 w 3239999"/>
              <a:gd name="connsiteY3" fmla="*/ 2709748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239999" h="3032924">
                <a:moveTo>
                  <a:pt x="1576606" y="2778202"/>
                </a:moveTo>
                <a:cubicBezTo>
                  <a:pt x="1576606" y="2778795"/>
                  <a:pt x="1663394" y="2792670"/>
                  <a:pt x="1663394" y="2778202"/>
                </a:cubicBezTo>
                <a:lnTo>
                  <a:pt x="1663394" y="2776423"/>
                </a:lnTo>
                <a:cubicBezTo>
                  <a:pt x="2185083" y="2605634"/>
                  <a:pt x="2444552" y="2500589"/>
                  <a:pt x="2991331" y="2709748"/>
                </a:cubicBezTo>
                <a:lnTo>
                  <a:pt x="3000856" y="526981"/>
                </a:lnTo>
                <a:lnTo>
                  <a:pt x="2855082" y="526981"/>
                </a:lnTo>
                <a:cubicBezTo>
                  <a:pt x="2857178" y="1175360"/>
                  <a:pt x="2859273" y="1823738"/>
                  <a:pt x="2861369" y="2472117"/>
                </a:cubicBezTo>
                <a:cubicBezTo>
                  <a:pt x="2483869" y="2318121"/>
                  <a:pt x="2052449" y="2439541"/>
                  <a:pt x="1663394" y="2765302"/>
                </a:cubicBezTo>
                <a:lnTo>
                  <a:pt x="1663394" y="526981"/>
                </a:lnTo>
                <a:lnTo>
                  <a:pt x="1663394" y="430441"/>
                </a:lnTo>
                <a:lnTo>
                  <a:pt x="1663394" y="402054"/>
                </a:lnTo>
                <a:cubicBezTo>
                  <a:pt x="1896442" y="149589"/>
                  <a:pt x="2115835" y="2106"/>
                  <a:pt x="2406065" y="22"/>
                </a:cubicBezTo>
                <a:cubicBezTo>
                  <a:pt x="2537987" y="-925"/>
                  <a:pt x="2684544" y="28169"/>
                  <a:pt x="2853673" y="91100"/>
                </a:cubicBezTo>
                <a:cubicBezTo>
                  <a:pt x="2854039" y="204214"/>
                  <a:pt x="2854404" y="317327"/>
                  <a:pt x="2854770" y="430441"/>
                </a:cubicBezTo>
                <a:lnTo>
                  <a:pt x="3120669" y="428517"/>
                </a:lnTo>
                <a:lnTo>
                  <a:pt x="3120669" y="738345"/>
                </a:lnTo>
                <a:lnTo>
                  <a:pt x="3239999" y="738345"/>
                </a:lnTo>
                <a:lnTo>
                  <a:pt x="3239999" y="3032924"/>
                </a:lnTo>
                <a:lnTo>
                  <a:pt x="0" y="3032924"/>
                </a:lnTo>
                <a:lnTo>
                  <a:pt x="0" y="738345"/>
                </a:lnTo>
                <a:lnTo>
                  <a:pt x="102477" y="738345"/>
                </a:lnTo>
                <a:lnTo>
                  <a:pt x="102477" y="428517"/>
                </a:lnTo>
                <a:lnTo>
                  <a:pt x="385229" y="430441"/>
                </a:lnTo>
                <a:cubicBezTo>
                  <a:pt x="385595" y="317327"/>
                  <a:pt x="385960" y="204214"/>
                  <a:pt x="386326" y="91100"/>
                </a:cubicBezTo>
                <a:cubicBezTo>
                  <a:pt x="555455" y="28169"/>
                  <a:pt x="702013" y="-925"/>
                  <a:pt x="833935" y="22"/>
                </a:cubicBezTo>
                <a:cubicBezTo>
                  <a:pt x="1124164" y="2106"/>
                  <a:pt x="1343558" y="149589"/>
                  <a:pt x="1576606" y="402054"/>
                </a:cubicBezTo>
                <a:lnTo>
                  <a:pt x="1576606" y="430441"/>
                </a:lnTo>
                <a:lnTo>
                  <a:pt x="1576606" y="526981"/>
                </a:lnTo>
                <a:lnTo>
                  <a:pt x="1576606" y="2765302"/>
                </a:lnTo>
                <a:cubicBezTo>
                  <a:pt x="1187550" y="2439541"/>
                  <a:pt x="756130" y="2318121"/>
                  <a:pt x="378630" y="2472117"/>
                </a:cubicBezTo>
                <a:lnTo>
                  <a:pt x="384918" y="526981"/>
                </a:lnTo>
                <a:lnTo>
                  <a:pt x="239143" y="526981"/>
                </a:lnTo>
                <a:lnTo>
                  <a:pt x="229618" y="2690698"/>
                </a:lnTo>
                <a:cubicBezTo>
                  <a:pt x="773243" y="2466244"/>
                  <a:pt x="1081748" y="2626096"/>
                  <a:pt x="1576606" y="277642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7" name="Rectangle 16">
            <a:extLst>
              <a:ext uri="{FF2B5EF4-FFF2-40B4-BE49-F238E27FC236}">
                <a16:creationId xmlns:a16="http://schemas.microsoft.com/office/drawing/2014/main" id="{A42E3DEC-DAED-4178-AE9D-70060F413AFE}"/>
              </a:ext>
            </a:extLst>
          </p:cNvPr>
          <p:cNvSpPr/>
          <p:nvPr/>
        </p:nvSpPr>
        <p:spPr>
          <a:xfrm rot="2700000">
            <a:off x="4700391" y="2358361"/>
            <a:ext cx="167088" cy="299558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40" name="Round Same Side Corner Rectangle 36">
            <a:extLst>
              <a:ext uri="{FF2B5EF4-FFF2-40B4-BE49-F238E27FC236}">
                <a16:creationId xmlns:a16="http://schemas.microsoft.com/office/drawing/2014/main" id="{5A2A17D9-45AC-4AFC-9F55-3DD5503274E7}"/>
              </a:ext>
            </a:extLst>
          </p:cNvPr>
          <p:cNvSpPr>
            <a:spLocks noChangeAspect="1"/>
          </p:cNvSpPr>
          <p:nvPr/>
        </p:nvSpPr>
        <p:spPr>
          <a:xfrm>
            <a:off x="7055490" y="4603153"/>
            <a:ext cx="248822" cy="196723"/>
          </a:xfrm>
          <a:custGeom>
            <a:avLst/>
            <a:gdLst/>
            <a:ahLst/>
            <a:cxnLst/>
            <a:rect l="l" t="t" r="r" b="b"/>
            <a:pathLst>
              <a:path w="3219104" h="2545072">
                <a:moveTo>
                  <a:pt x="2779672" y="457200"/>
                </a:moveTo>
                <a:lnTo>
                  <a:pt x="2975888" y="457200"/>
                </a:lnTo>
                <a:cubicBezTo>
                  <a:pt x="3110212" y="457200"/>
                  <a:pt x="3219104" y="566092"/>
                  <a:pt x="3219104" y="700416"/>
                </a:cubicBezTo>
                <a:lnTo>
                  <a:pt x="3219104" y="2301856"/>
                </a:lnTo>
                <a:cubicBezTo>
                  <a:pt x="3219104" y="2436180"/>
                  <a:pt x="3110212" y="2545072"/>
                  <a:pt x="2975888" y="2545072"/>
                </a:cubicBezTo>
                <a:lnTo>
                  <a:pt x="2779672" y="2545072"/>
                </a:lnTo>
                <a:close/>
                <a:moveTo>
                  <a:pt x="243216" y="457200"/>
                </a:moveTo>
                <a:lnTo>
                  <a:pt x="439432" y="457200"/>
                </a:lnTo>
                <a:lnTo>
                  <a:pt x="439432" y="2545072"/>
                </a:lnTo>
                <a:lnTo>
                  <a:pt x="243216" y="2545072"/>
                </a:lnTo>
                <a:cubicBezTo>
                  <a:pt x="108892" y="2545072"/>
                  <a:pt x="0" y="2436180"/>
                  <a:pt x="0" y="2301856"/>
                </a:cubicBezTo>
                <a:lnTo>
                  <a:pt x="0" y="700416"/>
                </a:lnTo>
                <a:cubicBezTo>
                  <a:pt x="0" y="566092"/>
                  <a:pt x="108892" y="457200"/>
                  <a:pt x="243216" y="457200"/>
                </a:cubicBezTo>
                <a:close/>
                <a:moveTo>
                  <a:pt x="1428476" y="174246"/>
                </a:moveTo>
                <a:cubicBezTo>
                  <a:pt x="1372210" y="174246"/>
                  <a:pt x="1326598" y="219858"/>
                  <a:pt x="1326598" y="276124"/>
                </a:cubicBezTo>
                <a:lnTo>
                  <a:pt x="1326598" y="457200"/>
                </a:lnTo>
                <a:lnTo>
                  <a:pt x="1892506" y="457200"/>
                </a:lnTo>
                <a:lnTo>
                  <a:pt x="1892506" y="276124"/>
                </a:lnTo>
                <a:cubicBezTo>
                  <a:pt x="1892506" y="219858"/>
                  <a:pt x="1846894" y="174246"/>
                  <a:pt x="1790628" y="174246"/>
                </a:cubicBezTo>
                <a:close/>
                <a:moveTo>
                  <a:pt x="1285704" y="0"/>
                </a:moveTo>
                <a:lnTo>
                  <a:pt x="1933400" y="0"/>
                </a:lnTo>
                <a:cubicBezTo>
                  <a:pt x="2007048" y="0"/>
                  <a:pt x="2066752" y="59704"/>
                  <a:pt x="2066752" y="133352"/>
                </a:cubicBezTo>
                <a:lnTo>
                  <a:pt x="2066752" y="457200"/>
                </a:lnTo>
                <a:lnTo>
                  <a:pt x="2599672" y="457200"/>
                </a:lnTo>
                <a:lnTo>
                  <a:pt x="2599672" y="2545072"/>
                </a:lnTo>
                <a:lnTo>
                  <a:pt x="619432" y="2545072"/>
                </a:lnTo>
                <a:lnTo>
                  <a:pt x="619432" y="457200"/>
                </a:lnTo>
                <a:lnTo>
                  <a:pt x="1152352" y="457200"/>
                </a:lnTo>
                <a:lnTo>
                  <a:pt x="1152352" y="133352"/>
                </a:lnTo>
                <a:cubicBezTo>
                  <a:pt x="1152352" y="59704"/>
                  <a:pt x="1212056" y="0"/>
                  <a:pt x="128570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1B358A2-FB1C-9C32-C6B0-CAE2AA2E20AD}"/>
              </a:ext>
            </a:extLst>
          </p:cNvPr>
          <p:cNvSpPr txBox="1"/>
          <p:nvPr/>
        </p:nvSpPr>
        <p:spPr>
          <a:xfrm>
            <a:off x="444137" y="562534"/>
            <a:ext cx="11429999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alt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Subpart 3- Training Organisations</a:t>
            </a:r>
            <a:endParaRPr kumimoji="0" lang="en-ZA" sz="5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 panose="020F0302020204030204"/>
              <a:ea typeface="+mn-ea"/>
              <a:cs typeface="Arial" pitchFamily="34" charset="0"/>
            </a:endParaRPr>
          </a:p>
        </p:txBody>
      </p:sp>
      <p:sp>
        <p:nvSpPr>
          <p:cNvPr id="44" name="1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0F7ECB2-0C57-0AE3-9686-F6275B0EB5A2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7028414" y="1489242"/>
            <a:ext cx="452652" cy="450811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accent5"/>
            </a:solidFill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46" name="1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8EE8520-785B-2ED9-34F4-14ED0D2BEFC0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7018463" y="3069184"/>
            <a:ext cx="452652" cy="450811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dirty="0">
                <a:solidFill>
                  <a:schemeClr val="bg1"/>
                </a:solidFill>
                <a:latin typeface="Calibri" panose="020F0502020204030204"/>
              </a:rPr>
              <a:t>3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1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7650F2A-0567-2E3F-5706-C3036BB49E7D}"/>
              </a:ext>
            </a:extLst>
          </p:cNvPr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4585961" y="2263029"/>
            <a:ext cx="452652" cy="450811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48" name="1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1516319-4E0E-67CB-F493-0FA74EE9E9CB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4618950" y="3748743"/>
            <a:ext cx="452652" cy="450811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49" name="1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C6C9906-BBDA-18A4-60C2-8E4261C7FA67}"/>
              </a:ext>
            </a:extLst>
          </p:cNvPr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6948818" y="4437023"/>
            <a:ext cx="452652" cy="450811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38100">
            <a:solidFill>
              <a:schemeClr val="accent1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BB4CEDE-9B63-5B55-8A20-F7768DAE826C}"/>
              </a:ext>
            </a:extLst>
          </p:cNvPr>
          <p:cNvGrpSpPr/>
          <p:nvPr/>
        </p:nvGrpSpPr>
        <p:grpSpPr>
          <a:xfrm>
            <a:off x="992265" y="5462350"/>
            <a:ext cx="10113323" cy="611492"/>
            <a:chOff x="957263" y="5120805"/>
            <a:chExt cx="10277475" cy="1097280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8B79666-7087-72E0-2084-DA208E185A40}"/>
                </a:ext>
              </a:extLst>
            </p:cNvPr>
            <p:cNvSpPr/>
            <p:nvPr/>
          </p:nvSpPr>
          <p:spPr>
            <a:xfrm>
              <a:off x="957263" y="5120805"/>
              <a:ext cx="10277475" cy="109728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D8C4949D-D581-1E6C-98D7-6D3E1E99A803}"/>
                </a:ext>
              </a:extLst>
            </p:cNvPr>
            <p:cNvSpPr/>
            <p:nvPr/>
          </p:nvSpPr>
          <p:spPr>
            <a:xfrm>
              <a:off x="10137458" y="5120805"/>
              <a:ext cx="1097280" cy="109728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A8E72C5D-6F3E-C8F1-B78B-273628813C17}"/>
              </a:ext>
            </a:extLst>
          </p:cNvPr>
          <p:cNvSpPr txBox="1"/>
          <p:nvPr/>
        </p:nvSpPr>
        <p:spPr>
          <a:xfrm>
            <a:off x="3387768" y="5544776"/>
            <a:ext cx="60938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rPr>
              <a:t>Regulations: Part 92.03.1 to Part 92.03.6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grpSp>
        <p:nvGrpSpPr>
          <p:cNvPr id="57" name="Candidat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17823C5-0C50-45B9-0F2F-1EDA9DDA008F}"/>
              </a:ext>
            </a:extLst>
          </p:cNvPr>
          <p:cNvGrpSpPr>
            <a:grpSpLocks noChangeAspect="1"/>
          </p:cNvGrpSpPr>
          <p:nvPr/>
        </p:nvGrpSpPr>
        <p:grpSpPr>
          <a:xfrm>
            <a:off x="5388275" y="4386118"/>
            <a:ext cx="452314" cy="529782"/>
            <a:chOff x="8482013" y="4622800"/>
            <a:chExt cx="574675" cy="673101"/>
          </a:xfrm>
          <a:solidFill>
            <a:schemeClr val="bg1"/>
          </a:solidFill>
        </p:grpSpPr>
        <p:sp>
          <p:nvSpPr>
            <p:cNvPr id="58" name="Freeform 2635">
              <a:extLst>
                <a:ext uri="{FF2B5EF4-FFF2-40B4-BE49-F238E27FC236}">
                  <a16:creationId xmlns:a16="http://schemas.microsoft.com/office/drawing/2014/main" id="{42FB609E-AAE6-D2B8-CC9B-6B9E93AFE2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3000" y="4773613"/>
              <a:ext cx="293688" cy="522288"/>
            </a:xfrm>
            <a:custGeom>
              <a:avLst/>
              <a:gdLst>
                <a:gd name="T0" fmla="*/ 263 w 263"/>
                <a:gd name="T1" fmla="*/ 56 h 467"/>
                <a:gd name="T2" fmla="*/ 252 w 263"/>
                <a:gd name="T3" fmla="*/ 210 h 467"/>
                <a:gd name="T4" fmla="*/ 205 w 263"/>
                <a:gd name="T5" fmla="*/ 247 h 467"/>
                <a:gd name="T6" fmla="*/ 203 w 263"/>
                <a:gd name="T7" fmla="*/ 247 h 467"/>
                <a:gd name="T8" fmla="*/ 188 w 263"/>
                <a:gd name="T9" fmla="*/ 452 h 467"/>
                <a:gd name="T10" fmla="*/ 172 w 263"/>
                <a:gd name="T11" fmla="*/ 467 h 467"/>
                <a:gd name="T12" fmla="*/ 91 w 263"/>
                <a:gd name="T13" fmla="*/ 467 h 467"/>
                <a:gd name="T14" fmla="*/ 75 w 263"/>
                <a:gd name="T15" fmla="*/ 452 h 467"/>
                <a:gd name="T16" fmla="*/ 60 w 263"/>
                <a:gd name="T17" fmla="*/ 247 h 467"/>
                <a:gd name="T18" fmla="*/ 58 w 263"/>
                <a:gd name="T19" fmla="*/ 247 h 467"/>
                <a:gd name="T20" fmla="*/ 11 w 263"/>
                <a:gd name="T21" fmla="*/ 210 h 467"/>
                <a:gd name="T22" fmla="*/ 0 w 263"/>
                <a:gd name="T23" fmla="*/ 58 h 467"/>
                <a:gd name="T24" fmla="*/ 0 w 263"/>
                <a:gd name="T25" fmla="*/ 56 h 467"/>
                <a:gd name="T26" fmla="*/ 53 w 263"/>
                <a:gd name="T27" fmla="*/ 0 h 467"/>
                <a:gd name="T28" fmla="*/ 210 w 263"/>
                <a:gd name="T29" fmla="*/ 0 h 467"/>
                <a:gd name="T30" fmla="*/ 263 w 263"/>
                <a:gd name="T31" fmla="*/ 56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3" h="467">
                  <a:moveTo>
                    <a:pt x="263" y="56"/>
                  </a:moveTo>
                  <a:lnTo>
                    <a:pt x="252" y="210"/>
                  </a:lnTo>
                  <a:cubicBezTo>
                    <a:pt x="250" y="228"/>
                    <a:pt x="225" y="244"/>
                    <a:pt x="205" y="247"/>
                  </a:cubicBezTo>
                  <a:cubicBezTo>
                    <a:pt x="204" y="247"/>
                    <a:pt x="204" y="247"/>
                    <a:pt x="203" y="247"/>
                  </a:cubicBezTo>
                  <a:lnTo>
                    <a:pt x="188" y="452"/>
                  </a:lnTo>
                  <a:cubicBezTo>
                    <a:pt x="187" y="460"/>
                    <a:pt x="180" y="467"/>
                    <a:pt x="172" y="467"/>
                  </a:cubicBezTo>
                  <a:lnTo>
                    <a:pt x="91" y="467"/>
                  </a:lnTo>
                  <a:cubicBezTo>
                    <a:pt x="83" y="467"/>
                    <a:pt x="76" y="460"/>
                    <a:pt x="75" y="452"/>
                  </a:cubicBezTo>
                  <a:lnTo>
                    <a:pt x="60" y="247"/>
                  </a:lnTo>
                  <a:cubicBezTo>
                    <a:pt x="59" y="247"/>
                    <a:pt x="58" y="247"/>
                    <a:pt x="58" y="247"/>
                  </a:cubicBezTo>
                  <a:cubicBezTo>
                    <a:pt x="38" y="244"/>
                    <a:pt x="13" y="228"/>
                    <a:pt x="11" y="210"/>
                  </a:cubicBezTo>
                  <a:lnTo>
                    <a:pt x="0" y="58"/>
                  </a:lnTo>
                  <a:cubicBezTo>
                    <a:pt x="0" y="57"/>
                    <a:pt x="0" y="56"/>
                    <a:pt x="0" y="56"/>
                  </a:cubicBezTo>
                  <a:cubicBezTo>
                    <a:pt x="0" y="26"/>
                    <a:pt x="24" y="1"/>
                    <a:pt x="53" y="0"/>
                  </a:cubicBezTo>
                  <a:lnTo>
                    <a:pt x="210" y="0"/>
                  </a:lnTo>
                  <a:cubicBezTo>
                    <a:pt x="239" y="1"/>
                    <a:pt x="263" y="26"/>
                    <a:pt x="263" y="56"/>
                  </a:cubicBezTo>
                  <a:close/>
                </a:path>
              </a:pathLst>
            </a:custGeom>
            <a:grpFill/>
            <a:ln w="19050" cap="rnd">
              <a:solidFill>
                <a:srgbClr val="4F81B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Oval 2636">
              <a:extLst>
                <a:ext uri="{FF2B5EF4-FFF2-40B4-BE49-F238E27FC236}">
                  <a16:creationId xmlns:a16="http://schemas.microsoft.com/office/drawing/2014/main" id="{1C614365-4506-15EE-9424-4F162B9A26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3488" y="4622800"/>
              <a:ext cx="111125" cy="112713"/>
            </a:xfrm>
            <a:prstGeom prst="ellipse">
              <a:avLst/>
            </a:prstGeom>
            <a:grpFill/>
            <a:ln w="19050" cap="rnd">
              <a:solidFill>
                <a:srgbClr val="4F81B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Line 2637">
              <a:extLst>
                <a:ext uri="{FF2B5EF4-FFF2-40B4-BE49-F238E27FC236}">
                  <a16:creationId xmlns:a16="http://schemas.microsoft.com/office/drawing/2014/main" id="{A9E2878B-E0E4-793D-3AF1-EF10185B90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09050" y="5033963"/>
              <a:ext cx="0" cy="261938"/>
            </a:xfrm>
            <a:prstGeom prst="line">
              <a:avLst/>
            </a:prstGeom>
            <a:grpFill/>
            <a:ln w="19050" cap="rnd">
              <a:solidFill>
                <a:srgbClr val="4F81B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Line 2638">
              <a:extLst>
                <a:ext uri="{FF2B5EF4-FFF2-40B4-BE49-F238E27FC236}">
                  <a16:creationId xmlns:a16="http://schemas.microsoft.com/office/drawing/2014/main" id="{1F12FA6E-2A2E-A4F5-0B6E-66DF49DE0D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8816975" y="4859338"/>
              <a:ext cx="12700" cy="190500"/>
            </a:xfrm>
            <a:prstGeom prst="line">
              <a:avLst/>
            </a:prstGeom>
            <a:grpFill/>
            <a:ln w="19050" cap="rnd">
              <a:solidFill>
                <a:srgbClr val="4F81B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Line 2639">
              <a:extLst>
                <a:ext uri="{FF2B5EF4-FFF2-40B4-BE49-F238E27FC236}">
                  <a16:creationId xmlns:a16="http://schemas.microsoft.com/office/drawing/2014/main" id="{750C1B17-3C18-06E0-FDF3-DF4A069508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990013" y="4859338"/>
              <a:ext cx="12700" cy="190500"/>
            </a:xfrm>
            <a:prstGeom prst="line">
              <a:avLst/>
            </a:prstGeom>
            <a:grpFill/>
            <a:ln w="19050" cap="rnd">
              <a:solidFill>
                <a:srgbClr val="4F81B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2640">
              <a:extLst>
                <a:ext uri="{FF2B5EF4-FFF2-40B4-BE49-F238E27FC236}">
                  <a16:creationId xmlns:a16="http://schemas.microsoft.com/office/drawing/2014/main" id="{47FF5768-4468-F9D5-091E-46D1359A7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013" y="4627563"/>
              <a:ext cx="176213" cy="176213"/>
            </a:xfrm>
            <a:custGeom>
              <a:avLst/>
              <a:gdLst>
                <a:gd name="T0" fmla="*/ 20 w 157"/>
                <a:gd name="T1" fmla="*/ 157 h 157"/>
                <a:gd name="T2" fmla="*/ 137 w 157"/>
                <a:gd name="T3" fmla="*/ 157 h 157"/>
                <a:gd name="T4" fmla="*/ 157 w 157"/>
                <a:gd name="T5" fmla="*/ 137 h 157"/>
                <a:gd name="T6" fmla="*/ 157 w 157"/>
                <a:gd name="T7" fmla="*/ 20 h 157"/>
                <a:gd name="T8" fmla="*/ 137 w 157"/>
                <a:gd name="T9" fmla="*/ 0 h 157"/>
                <a:gd name="T10" fmla="*/ 20 w 157"/>
                <a:gd name="T11" fmla="*/ 0 h 157"/>
                <a:gd name="T12" fmla="*/ 0 w 157"/>
                <a:gd name="T13" fmla="*/ 20 h 157"/>
                <a:gd name="T14" fmla="*/ 0 w 157"/>
                <a:gd name="T15" fmla="*/ 137 h 157"/>
                <a:gd name="T16" fmla="*/ 20 w 157"/>
                <a:gd name="T17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57">
                  <a:moveTo>
                    <a:pt x="20" y="157"/>
                  </a:moveTo>
                  <a:lnTo>
                    <a:pt x="137" y="157"/>
                  </a:lnTo>
                  <a:cubicBezTo>
                    <a:pt x="148" y="157"/>
                    <a:pt x="157" y="148"/>
                    <a:pt x="157" y="137"/>
                  </a:cubicBezTo>
                  <a:lnTo>
                    <a:pt x="157" y="20"/>
                  </a:lnTo>
                  <a:cubicBezTo>
                    <a:pt x="157" y="9"/>
                    <a:pt x="148" y="0"/>
                    <a:pt x="137" y="0"/>
                  </a:cubicBezTo>
                  <a:lnTo>
                    <a:pt x="20" y="0"/>
                  </a:lnTo>
                  <a:cubicBezTo>
                    <a:pt x="9" y="0"/>
                    <a:pt x="0" y="9"/>
                    <a:pt x="0" y="20"/>
                  </a:cubicBezTo>
                  <a:lnTo>
                    <a:pt x="0" y="137"/>
                  </a:lnTo>
                  <a:cubicBezTo>
                    <a:pt x="0" y="148"/>
                    <a:pt x="9" y="157"/>
                    <a:pt x="20" y="157"/>
                  </a:cubicBezTo>
                  <a:close/>
                </a:path>
              </a:pathLst>
            </a:custGeom>
            <a:grpFill/>
            <a:ln w="19050" cap="flat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2641">
              <a:extLst>
                <a:ext uri="{FF2B5EF4-FFF2-40B4-BE49-F238E27FC236}">
                  <a16:creationId xmlns:a16="http://schemas.microsoft.com/office/drawing/2014/main" id="{836C56C0-EEF1-54BB-EA7D-1B7118E8B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050" y="4679950"/>
              <a:ext cx="85725" cy="79375"/>
            </a:xfrm>
            <a:custGeom>
              <a:avLst/>
              <a:gdLst>
                <a:gd name="T0" fmla="*/ 0 w 76"/>
                <a:gd name="T1" fmla="*/ 29 h 71"/>
                <a:gd name="T2" fmla="*/ 29 w 76"/>
                <a:gd name="T3" fmla="*/ 71 h 71"/>
                <a:gd name="T4" fmla="*/ 76 w 76"/>
                <a:gd name="T5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6" h="71">
                  <a:moveTo>
                    <a:pt x="0" y="29"/>
                  </a:moveTo>
                  <a:lnTo>
                    <a:pt x="29" y="71"/>
                  </a:lnTo>
                  <a:lnTo>
                    <a:pt x="76" y="0"/>
                  </a:lnTo>
                </a:path>
              </a:pathLst>
            </a:custGeom>
            <a:grpFill/>
            <a:ln w="19050" cap="rnd">
              <a:solidFill>
                <a:srgbClr val="4F81B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2642">
              <a:extLst>
                <a:ext uri="{FF2B5EF4-FFF2-40B4-BE49-F238E27FC236}">
                  <a16:creationId xmlns:a16="http://schemas.microsoft.com/office/drawing/2014/main" id="{4428F8E7-4316-BF6F-D89C-198A4CBA1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013" y="4875213"/>
              <a:ext cx="176213" cy="173038"/>
            </a:xfrm>
            <a:custGeom>
              <a:avLst/>
              <a:gdLst>
                <a:gd name="T0" fmla="*/ 20 w 157"/>
                <a:gd name="T1" fmla="*/ 156 h 156"/>
                <a:gd name="T2" fmla="*/ 137 w 157"/>
                <a:gd name="T3" fmla="*/ 156 h 156"/>
                <a:gd name="T4" fmla="*/ 157 w 157"/>
                <a:gd name="T5" fmla="*/ 136 h 156"/>
                <a:gd name="T6" fmla="*/ 157 w 157"/>
                <a:gd name="T7" fmla="*/ 19 h 156"/>
                <a:gd name="T8" fmla="*/ 137 w 157"/>
                <a:gd name="T9" fmla="*/ 0 h 156"/>
                <a:gd name="T10" fmla="*/ 20 w 157"/>
                <a:gd name="T11" fmla="*/ 0 h 156"/>
                <a:gd name="T12" fmla="*/ 0 w 157"/>
                <a:gd name="T13" fmla="*/ 19 h 156"/>
                <a:gd name="T14" fmla="*/ 0 w 157"/>
                <a:gd name="T15" fmla="*/ 136 h 156"/>
                <a:gd name="T16" fmla="*/ 20 w 157"/>
                <a:gd name="T1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56">
                  <a:moveTo>
                    <a:pt x="20" y="156"/>
                  </a:moveTo>
                  <a:lnTo>
                    <a:pt x="137" y="156"/>
                  </a:lnTo>
                  <a:cubicBezTo>
                    <a:pt x="148" y="156"/>
                    <a:pt x="157" y="147"/>
                    <a:pt x="157" y="136"/>
                  </a:cubicBezTo>
                  <a:lnTo>
                    <a:pt x="157" y="19"/>
                  </a:lnTo>
                  <a:cubicBezTo>
                    <a:pt x="157" y="9"/>
                    <a:pt x="148" y="0"/>
                    <a:pt x="137" y="0"/>
                  </a:cubicBezTo>
                  <a:lnTo>
                    <a:pt x="20" y="0"/>
                  </a:lnTo>
                  <a:cubicBezTo>
                    <a:pt x="9" y="0"/>
                    <a:pt x="0" y="9"/>
                    <a:pt x="0" y="19"/>
                  </a:cubicBezTo>
                  <a:lnTo>
                    <a:pt x="0" y="136"/>
                  </a:lnTo>
                  <a:cubicBezTo>
                    <a:pt x="0" y="147"/>
                    <a:pt x="9" y="156"/>
                    <a:pt x="20" y="156"/>
                  </a:cubicBezTo>
                  <a:close/>
                </a:path>
              </a:pathLst>
            </a:custGeom>
            <a:grpFill/>
            <a:ln w="19050" cap="flat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2643">
              <a:extLst>
                <a:ext uri="{FF2B5EF4-FFF2-40B4-BE49-F238E27FC236}">
                  <a16:creationId xmlns:a16="http://schemas.microsoft.com/office/drawing/2014/main" id="{623FE617-D67F-5CF3-2CE0-D97AD3B08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050" y="4926013"/>
              <a:ext cx="85725" cy="79375"/>
            </a:xfrm>
            <a:custGeom>
              <a:avLst/>
              <a:gdLst>
                <a:gd name="T0" fmla="*/ 0 w 76"/>
                <a:gd name="T1" fmla="*/ 29 h 71"/>
                <a:gd name="T2" fmla="*/ 29 w 76"/>
                <a:gd name="T3" fmla="*/ 71 h 71"/>
                <a:gd name="T4" fmla="*/ 76 w 76"/>
                <a:gd name="T5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6" h="71">
                  <a:moveTo>
                    <a:pt x="0" y="29"/>
                  </a:moveTo>
                  <a:lnTo>
                    <a:pt x="29" y="71"/>
                  </a:lnTo>
                  <a:lnTo>
                    <a:pt x="76" y="0"/>
                  </a:lnTo>
                </a:path>
              </a:pathLst>
            </a:custGeom>
            <a:grpFill/>
            <a:ln w="19050" cap="rnd">
              <a:solidFill>
                <a:srgbClr val="4F81B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2644">
              <a:extLst>
                <a:ext uri="{FF2B5EF4-FFF2-40B4-BE49-F238E27FC236}">
                  <a16:creationId xmlns:a16="http://schemas.microsoft.com/office/drawing/2014/main" id="{45563465-A0AB-1C16-55D8-14EDA55BC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013" y="5119688"/>
              <a:ext cx="176213" cy="176213"/>
            </a:xfrm>
            <a:custGeom>
              <a:avLst/>
              <a:gdLst>
                <a:gd name="T0" fmla="*/ 20 w 157"/>
                <a:gd name="T1" fmla="*/ 157 h 157"/>
                <a:gd name="T2" fmla="*/ 137 w 157"/>
                <a:gd name="T3" fmla="*/ 157 h 157"/>
                <a:gd name="T4" fmla="*/ 157 w 157"/>
                <a:gd name="T5" fmla="*/ 137 h 157"/>
                <a:gd name="T6" fmla="*/ 157 w 157"/>
                <a:gd name="T7" fmla="*/ 20 h 157"/>
                <a:gd name="T8" fmla="*/ 137 w 157"/>
                <a:gd name="T9" fmla="*/ 0 h 157"/>
                <a:gd name="T10" fmla="*/ 20 w 157"/>
                <a:gd name="T11" fmla="*/ 0 h 157"/>
                <a:gd name="T12" fmla="*/ 0 w 157"/>
                <a:gd name="T13" fmla="*/ 20 h 157"/>
                <a:gd name="T14" fmla="*/ 0 w 157"/>
                <a:gd name="T15" fmla="*/ 137 h 157"/>
                <a:gd name="T16" fmla="*/ 20 w 157"/>
                <a:gd name="T17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57">
                  <a:moveTo>
                    <a:pt x="20" y="157"/>
                  </a:moveTo>
                  <a:lnTo>
                    <a:pt x="137" y="157"/>
                  </a:lnTo>
                  <a:cubicBezTo>
                    <a:pt x="148" y="157"/>
                    <a:pt x="157" y="148"/>
                    <a:pt x="157" y="137"/>
                  </a:cubicBezTo>
                  <a:lnTo>
                    <a:pt x="157" y="20"/>
                  </a:lnTo>
                  <a:cubicBezTo>
                    <a:pt x="157" y="9"/>
                    <a:pt x="148" y="0"/>
                    <a:pt x="137" y="0"/>
                  </a:cubicBezTo>
                  <a:lnTo>
                    <a:pt x="20" y="0"/>
                  </a:lnTo>
                  <a:cubicBezTo>
                    <a:pt x="9" y="0"/>
                    <a:pt x="0" y="9"/>
                    <a:pt x="0" y="20"/>
                  </a:cubicBezTo>
                  <a:lnTo>
                    <a:pt x="0" y="137"/>
                  </a:lnTo>
                  <a:cubicBezTo>
                    <a:pt x="0" y="148"/>
                    <a:pt x="9" y="157"/>
                    <a:pt x="20" y="157"/>
                  </a:cubicBezTo>
                  <a:close/>
                </a:path>
              </a:pathLst>
            </a:custGeom>
            <a:grpFill/>
            <a:ln w="19050" cap="flat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2645">
              <a:extLst>
                <a:ext uri="{FF2B5EF4-FFF2-40B4-BE49-F238E27FC236}">
                  <a16:creationId xmlns:a16="http://schemas.microsoft.com/office/drawing/2014/main" id="{6D169A6F-9871-E8DD-9E67-71CB3490D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050" y="5172075"/>
              <a:ext cx="85725" cy="79375"/>
            </a:xfrm>
            <a:custGeom>
              <a:avLst/>
              <a:gdLst>
                <a:gd name="T0" fmla="*/ 0 w 76"/>
                <a:gd name="T1" fmla="*/ 28 h 70"/>
                <a:gd name="T2" fmla="*/ 29 w 76"/>
                <a:gd name="T3" fmla="*/ 70 h 70"/>
                <a:gd name="T4" fmla="*/ 76 w 76"/>
                <a:gd name="T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6" h="70">
                  <a:moveTo>
                    <a:pt x="0" y="28"/>
                  </a:moveTo>
                  <a:lnTo>
                    <a:pt x="29" y="70"/>
                  </a:lnTo>
                  <a:lnTo>
                    <a:pt x="76" y="0"/>
                  </a:lnTo>
                </a:path>
              </a:pathLst>
            </a:custGeom>
            <a:grpFill/>
            <a:ln w="19050" cap="rnd">
              <a:solidFill>
                <a:srgbClr val="4F81B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9" name="Teacher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992CED5-5886-FE38-2038-31F983249F0A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350316" y="1417979"/>
            <a:ext cx="567917" cy="574957"/>
            <a:chOff x="7061200" y="1673225"/>
            <a:chExt cx="768351" cy="777876"/>
          </a:xfrm>
          <a:solidFill>
            <a:schemeClr val="bg1"/>
          </a:solidFill>
        </p:grpSpPr>
        <p:sp>
          <p:nvSpPr>
            <p:cNvPr id="70" name="Freeform 99">
              <a:extLst>
                <a:ext uri="{FF2B5EF4-FFF2-40B4-BE49-F238E27FC236}">
                  <a16:creationId xmlns:a16="http://schemas.microsoft.com/office/drawing/2014/main" id="{62FF9ED8-F1DA-B32F-D2FF-D0052A178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1838" y="2230438"/>
              <a:ext cx="311150" cy="101600"/>
            </a:xfrm>
            <a:custGeom>
              <a:avLst/>
              <a:gdLst>
                <a:gd name="T0" fmla="*/ 0 w 415"/>
                <a:gd name="T1" fmla="*/ 134 h 134"/>
                <a:gd name="T2" fmla="*/ 0 w 415"/>
                <a:gd name="T3" fmla="*/ 117 h 134"/>
                <a:gd name="T4" fmla="*/ 158 w 415"/>
                <a:gd name="T5" fmla="*/ 0 h 134"/>
                <a:gd name="T6" fmla="*/ 259 w 415"/>
                <a:gd name="T7" fmla="*/ 0 h 134"/>
                <a:gd name="T8" fmla="*/ 415 w 415"/>
                <a:gd name="T9" fmla="*/ 117 h 134"/>
                <a:gd name="T10" fmla="*/ 415 w 415"/>
                <a:gd name="T11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5" h="134">
                  <a:moveTo>
                    <a:pt x="0" y="134"/>
                  </a:moveTo>
                  <a:lnTo>
                    <a:pt x="0" y="117"/>
                  </a:lnTo>
                  <a:cubicBezTo>
                    <a:pt x="0" y="58"/>
                    <a:pt x="43" y="0"/>
                    <a:pt x="158" y="0"/>
                  </a:cubicBezTo>
                  <a:lnTo>
                    <a:pt x="259" y="0"/>
                  </a:lnTo>
                  <a:cubicBezTo>
                    <a:pt x="372" y="0"/>
                    <a:pt x="415" y="54"/>
                    <a:pt x="415" y="117"/>
                  </a:cubicBezTo>
                  <a:lnTo>
                    <a:pt x="415" y="134"/>
                  </a:lnTo>
                </a:path>
              </a:pathLst>
            </a:custGeom>
            <a:grp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Oval 100">
              <a:extLst>
                <a:ext uri="{FF2B5EF4-FFF2-40B4-BE49-F238E27FC236}">
                  <a16:creationId xmlns:a16="http://schemas.microsoft.com/office/drawing/2014/main" id="{D959B8CF-ED25-8D5B-33EF-C4D56E458D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8513" y="2009775"/>
              <a:ext cx="177800" cy="177800"/>
            </a:xfrm>
            <a:prstGeom prst="ellipse">
              <a:avLst/>
            </a:prstGeom>
            <a:grp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101">
              <a:extLst>
                <a:ext uri="{FF2B5EF4-FFF2-40B4-BE49-F238E27FC236}">
                  <a16:creationId xmlns:a16="http://schemas.microsoft.com/office/drawing/2014/main" id="{71DEBE83-D049-27E4-F2EA-81CCAD60A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1200" y="2328863"/>
              <a:ext cx="354013" cy="122238"/>
            </a:xfrm>
            <a:custGeom>
              <a:avLst/>
              <a:gdLst>
                <a:gd name="T0" fmla="*/ 0 w 471"/>
                <a:gd name="T1" fmla="*/ 163 h 163"/>
                <a:gd name="T2" fmla="*/ 0 w 471"/>
                <a:gd name="T3" fmla="*/ 56 h 163"/>
                <a:gd name="T4" fmla="*/ 56 w 471"/>
                <a:gd name="T5" fmla="*/ 0 h 163"/>
                <a:gd name="T6" fmla="*/ 415 w 471"/>
                <a:gd name="T7" fmla="*/ 0 h 163"/>
                <a:gd name="T8" fmla="*/ 471 w 471"/>
                <a:gd name="T9" fmla="*/ 56 h 163"/>
                <a:gd name="T10" fmla="*/ 471 w 471"/>
                <a:gd name="T11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1" h="163">
                  <a:moveTo>
                    <a:pt x="0" y="163"/>
                  </a:moveTo>
                  <a:lnTo>
                    <a:pt x="0" y="56"/>
                  </a:lnTo>
                  <a:cubicBezTo>
                    <a:pt x="0" y="25"/>
                    <a:pt x="25" y="0"/>
                    <a:pt x="56" y="0"/>
                  </a:cubicBezTo>
                  <a:lnTo>
                    <a:pt x="415" y="0"/>
                  </a:lnTo>
                  <a:cubicBezTo>
                    <a:pt x="446" y="0"/>
                    <a:pt x="471" y="25"/>
                    <a:pt x="471" y="56"/>
                  </a:cubicBezTo>
                  <a:lnTo>
                    <a:pt x="471" y="163"/>
                  </a:lnTo>
                </a:path>
              </a:pathLst>
            </a:custGeom>
            <a:grp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102">
              <a:extLst>
                <a:ext uri="{FF2B5EF4-FFF2-40B4-BE49-F238E27FC236}">
                  <a16:creationId xmlns:a16="http://schemas.microsoft.com/office/drawing/2014/main" id="{B42F5934-E809-2620-C6F7-62DF0A736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7763" y="2230438"/>
              <a:ext cx="311150" cy="101600"/>
            </a:xfrm>
            <a:custGeom>
              <a:avLst/>
              <a:gdLst>
                <a:gd name="T0" fmla="*/ 0 w 415"/>
                <a:gd name="T1" fmla="*/ 134 h 134"/>
                <a:gd name="T2" fmla="*/ 0 w 415"/>
                <a:gd name="T3" fmla="*/ 117 h 134"/>
                <a:gd name="T4" fmla="*/ 158 w 415"/>
                <a:gd name="T5" fmla="*/ 0 h 134"/>
                <a:gd name="T6" fmla="*/ 258 w 415"/>
                <a:gd name="T7" fmla="*/ 0 h 134"/>
                <a:gd name="T8" fmla="*/ 415 w 415"/>
                <a:gd name="T9" fmla="*/ 117 h 134"/>
                <a:gd name="T10" fmla="*/ 415 w 415"/>
                <a:gd name="T11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5" h="134">
                  <a:moveTo>
                    <a:pt x="0" y="134"/>
                  </a:moveTo>
                  <a:lnTo>
                    <a:pt x="0" y="117"/>
                  </a:lnTo>
                  <a:cubicBezTo>
                    <a:pt x="0" y="58"/>
                    <a:pt x="43" y="0"/>
                    <a:pt x="158" y="0"/>
                  </a:cubicBezTo>
                  <a:lnTo>
                    <a:pt x="258" y="0"/>
                  </a:lnTo>
                  <a:cubicBezTo>
                    <a:pt x="372" y="0"/>
                    <a:pt x="415" y="54"/>
                    <a:pt x="415" y="117"/>
                  </a:cubicBezTo>
                  <a:lnTo>
                    <a:pt x="415" y="134"/>
                  </a:lnTo>
                </a:path>
              </a:pathLst>
            </a:custGeom>
            <a:grp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Oval 103">
              <a:extLst>
                <a:ext uri="{FF2B5EF4-FFF2-40B4-BE49-F238E27FC236}">
                  <a16:creationId xmlns:a16="http://schemas.microsoft.com/office/drawing/2014/main" id="{12361F51-A9E4-B075-15ED-E69CD8FE20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4438" y="2009775"/>
              <a:ext cx="177800" cy="177800"/>
            </a:xfrm>
            <a:prstGeom prst="ellipse">
              <a:avLst/>
            </a:prstGeom>
            <a:grp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104">
              <a:extLst>
                <a:ext uri="{FF2B5EF4-FFF2-40B4-BE49-F238E27FC236}">
                  <a16:creationId xmlns:a16="http://schemas.microsoft.com/office/drawing/2014/main" id="{0A9CF7B9-9B69-3338-1789-0FC6BEE2F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5538" y="2328863"/>
              <a:ext cx="354013" cy="122238"/>
            </a:xfrm>
            <a:custGeom>
              <a:avLst/>
              <a:gdLst>
                <a:gd name="T0" fmla="*/ 0 w 471"/>
                <a:gd name="T1" fmla="*/ 163 h 163"/>
                <a:gd name="T2" fmla="*/ 0 w 471"/>
                <a:gd name="T3" fmla="*/ 56 h 163"/>
                <a:gd name="T4" fmla="*/ 56 w 471"/>
                <a:gd name="T5" fmla="*/ 0 h 163"/>
                <a:gd name="T6" fmla="*/ 415 w 471"/>
                <a:gd name="T7" fmla="*/ 0 h 163"/>
                <a:gd name="T8" fmla="*/ 471 w 471"/>
                <a:gd name="T9" fmla="*/ 56 h 163"/>
                <a:gd name="T10" fmla="*/ 471 w 471"/>
                <a:gd name="T11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1" h="163">
                  <a:moveTo>
                    <a:pt x="0" y="163"/>
                  </a:moveTo>
                  <a:lnTo>
                    <a:pt x="0" y="56"/>
                  </a:lnTo>
                  <a:cubicBezTo>
                    <a:pt x="0" y="25"/>
                    <a:pt x="25" y="0"/>
                    <a:pt x="56" y="0"/>
                  </a:cubicBezTo>
                  <a:lnTo>
                    <a:pt x="415" y="0"/>
                  </a:lnTo>
                  <a:cubicBezTo>
                    <a:pt x="446" y="0"/>
                    <a:pt x="471" y="25"/>
                    <a:pt x="471" y="56"/>
                  </a:cubicBezTo>
                  <a:lnTo>
                    <a:pt x="471" y="163"/>
                  </a:lnTo>
                </a:path>
              </a:pathLst>
            </a:custGeom>
            <a:grp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Oval 105">
              <a:extLst>
                <a:ext uri="{FF2B5EF4-FFF2-40B4-BE49-F238E27FC236}">
                  <a16:creationId xmlns:a16="http://schemas.microsoft.com/office/drawing/2014/main" id="{1B8CFA68-BE87-D73B-43DE-B32215D0AD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8063" y="1673225"/>
              <a:ext cx="179388" cy="180975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106">
              <a:extLst>
                <a:ext uri="{FF2B5EF4-FFF2-40B4-BE49-F238E27FC236}">
                  <a16:creationId xmlns:a16="http://schemas.microsoft.com/office/drawing/2014/main" id="{3D5B90A0-C239-E072-957B-3A91DACEA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213" y="1901825"/>
              <a:ext cx="319088" cy="123825"/>
            </a:xfrm>
            <a:custGeom>
              <a:avLst/>
              <a:gdLst>
                <a:gd name="T0" fmla="*/ 424 w 424"/>
                <a:gd name="T1" fmla="*/ 164 h 164"/>
                <a:gd name="T2" fmla="*/ 284 w 424"/>
                <a:gd name="T3" fmla="*/ 0 h 164"/>
                <a:gd name="T4" fmla="*/ 212 w 424"/>
                <a:gd name="T5" fmla="*/ 61 h 164"/>
                <a:gd name="T6" fmla="*/ 139 w 424"/>
                <a:gd name="T7" fmla="*/ 0 h 164"/>
                <a:gd name="T8" fmla="*/ 0 w 424"/>
                <a:gd name="T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4" h="164">
                  <a:moveTo>
                    <a:pt x="424" y="164"/>
                  </a:moveTo>
                  <a:cubicBezTo>
                    <a:pt x="424" y="52"/>
                    <a:pt x="376" y="6"/>
                    <a:pt x="284" y="0"/>
                  </a:cubicBezTo>
                  <a:lnTo>
                    <a:pt x="212" y="61"/>
                  </a:lnTo>
                  <a:lnTo>
                    <a:pt x="139" y="0"/>
                  </a:lnTo>
                  <a:cubicBezTo>
                    <a:pt x="48" y="6"/>
                    <a:pt x="0" y="52"/>
                    <a:pt x="0" y="164"/>
                  </a:cubicBezTo>
                </a:path>
              </a:pathLst>
            </a:custGeom>
            <a:grp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8" name="Gavel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FD4F5CF-1F2F-275A-DA24-99C8ECEF624A}"/>
              </a:ext>
            </a:extLst>
          </p:cNvPr>
          <p:cNvGrpSpPr>
            <a:grpSpLocks noChangeAspect="1"/>
          </p:cNvGrpSpPr>
          <p:nvPr/>
        </p:nvGrpSpPr>
        <p:grpSpPr>
          <a:xfrm>
            <a:off x="5918233" y="2205888"/>
            <a:ext cx="558823" cy="438090"/>
            <a:chOff x="2932113" y="5260976"/>
            <a:chExt cx="514350" cy="403225"/>
          </a:xfrm>
          <a:solidFill>
            <a:schemeClr val="bg1"/>
          </a:solidFill>
        </p:grpSpPr>
        <p:sp>
          <p:nvSpPr>
            <p:cNvPr id="79" name="Freeform 855">
              <a:extLst>
                <a:ext uri="{FF2B5EF4-FFF2-40B4-BE49-F238E27FC236}">
                  <a16:creationId xmlns:a16="http://schemas.microsoft.com/office/drawing/2014/main" id="{85E4AD5C-876F-3FA1-A3F8-211F79F4A1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9113" y="5387976"/>
              <a:ext cx="144463" cy="144463"/>
            </a:xfrm>
            <a:custGeom>
              <a:avLst/>
              <a:gdLst>
                <a:gd name="T0" fmla="*/ 175 w 1121"/>
                <a:gd name="T1" fmla="*/ 299 h 1129"/>
                <a:gd name="T2" fmla="*/ 820 w 1121"/>
                <a:gd name="T3" fmla="*/ 954 h 1129"/>
                <a:gd name="T4" fmla="*/ 939 w 1121"/>
                <a:gd name="T5" fmla="*/ 837 h 1129"/>
                <a:gd name="T6" fmla="*/ 293 w 1121"/>
                <a:gd name="T7" fmla="*/ 182 h 1129"/>
                <a:gd name="T8" fmla="*/ 175 w 1121"/>
                <a:gd name="T9" fmla="*/ 299 h 1129"/>
                <a:gd name="T10" fmla="*/ 819 w 1121"/>
                <a:gd name="T11" fmla="*/ 1129 h 1129"/>
                <a:gd name="T12" fmla="*/ 819 w 1121"/>
                <a:gd name="T13" fmla="*/ 1129 h 1129"/>
                <a:gd name="T14" fmla="*/ 768 w 1121"/>
                <a:gd name="T15" fmla="*/ 1107 h 1129"/>
                <a:gd name="T16" fmla="*/ 21 w 1121"/>
                <a:gd name="T17" fmla="*/ 349 h 1129"/>
                <a:gd name="T18" fmla="*/ 0 w 1121"/>
                <a:gd name="T19" fmla="*/ 298 h 1129"/>
                <a:gd name="T20" fmla="*/ 21 w 1121"/>
                <a:gd name="T21" fmla="*/ 247 h 1129"/>
                <a:gd name="T22" fmla="*/ 243 w 1121"/>
                <a:gd name="T23" fmla="*/ 28 h 1129"/>
                <a:gd name="T24" fmla="*/ 346 w 1121"/>
                <a:gd name="T25" fmla="*/ 29 h 1129"/>
                <a:gd name="T26" fmla="*/ 1093 w 1121"/>
                <a:gd name="T27" fmla="*/ 787 h 1129"/>
                <a:gd name="T28" fmla="*/ 1092 w 1121"/>
                <a:gd name="T29" fmla="*/ 889 h 1129"/>
                <a:gd name="T30" fmla="*/ 870 w 1121"/>
                <a:gd name="T31" fmla="*/ 1108 h 1129"/>
                <a:gd name="T32" fmla="*/ 819 w 1121"/>
                <a:gd name="T33" fmla="*/ 1129 h 1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1" h="1129">
                  <a:moveTo>
                    <a:pt x="175" y="299"/>
                  </a:moveTo>
                  <a:lnTo>
                    <a:pt x="820" y="954"/>
                  </a:lnTo>
                  <a:lnTo>
                    <a:pt x="939" y="837"/>
                  </a:lnTo>
                  <a:lnTo>
                    <a:pt x="293" y="182"/>
                  </a:lnTo>
                  <a:lnTo>
                    <a:pt x="175" y="299"/>
                  </a:lnTo>
                  <a:close/>
                  <a:moveTo>
                    <a:pt x="819" y="1129"/>
                  </a:moveTo>
                  <a:lnTo>
                    <a:pt x="819" y="1129"/>
                  </a:lnTo>
                  <a:cubicBezTo>
                    <a:pt x="800" y="1129"/>
                    <a:pt x="781" y="1121"/>
                    <a:pt x="768" y="1107"/>
                  </a:cubicBezTo>
                  <a:lnTo>
                    <a:pt x="21" y="349"/>
                  </a:lnTo>
                  <a:cubicBezTo>
                    <a:pt x="7" y="335"/>
                    <a:pt x="0" y="317"/>
                    <a:pt x="0" y="298"/>
                  </a:cubicBezTo>
                  <a:cubicBezTo>
                    <a:pt x="0" y="278"/>
                    <a:pt x="8" y="260"/>
                    <a:pt x="21" y="247"/>
                  </a:cubicBezTo>
                  <a:lnTo>
                    <a:pt x="243" y="28"/>
                  </a:lnTo>
                  <a:cubicBezTo>
                    <a:pt x="272" y="0"/>
                    <a:pt x="318" y="0"/>
                    <a:pt x="346" y="29"/>
                  </a:cubicBezTo>
                  <a:lnTo>
                    <a:pt x="1093" y="787"/>
                  </a:lnTo>
                  <a:cubicBezTo>
                    <a:pt x="1121" y="815"/>
                    <a:pt x="1121" y="861"/>
                    <a:pt x="1092" y="889"/>
                  </a:cubicBezTo>
                  <a:lnTo>
                    <a:pt x="870" y="1108"/>
                  </a:lnTo>
                  <a:cubicBezTo>
                    <a:pt x="857" y="1121"/>
                    <a:pt x="838" y="1129"/>
                    <a:pt x="819" y="1129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856">
              <a:extLst>
                <a:ext uri="{FF2B5EF4-FFF2-40B4-BE49-F238E27FC236}">
                  <a16:creationId xmlns:a16="http://schemas.microsoft.com/office/drawing/2014/main" id="{14F32E06-F4A7-8537-5D2E-FCD11E8EE2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4526" y="5260976"/>
              <a:ext cx="144463" cy="144463"/>
            </a:xfrm>
            <a:custGeom>
              <a:avLst/>
              <a:gdLst>
                <a:gd name="T0" fmla="*/ 182 w 1128"/>
                <a:gd name="T1" fmla="*/ 292 h 1122"/>
                <a:gd name="T2" fmla="*/ 827 w 1128"/>
                <a:gd name="T3" fmla="*/ 947 h 1122"/>
                <a:gd name="T4" fmla="*/ 946 w 1128"/>
                <a:gd name="T5" fmla="*/ 830 h 1122"/>
                <a:gd name="T6" fmla="*/ 300 w 1128"/>
                <a:gd name="T7" fmla="*/ 175 h 1122"/>
                <a:gd name="T8" fmla="*/ 182 w 1128"/>
                <a:gd name="T9" fmla="*/ 292 h 1122"/>
                <a:gd name="T10" fmla="*/ 826 w 1128"/>
                <a:gd name="T11" fmla="*/ 1122 h 1122"/>
                <a:gd name="T12" fmla="*/ 826 w 1128"/>
                <a:gd name="T13" fmla="*/ 1122 h 1122"/>
                <a:gd name="T14" fmla="*/ 775 w 1128"/>
                <a:gd name="T15" fmla="*/ 1100 h 1122"/>
                <a:gd name="T16" fmla="*/ 28 w 1128"/>
                <a:gd name="T17" fmla="*/ 342 h 1122"/>
                <a:gd name="T18" fmla="*/ 28 w 1128"/>
                <a:gd name="T19" fmla="*/ 239 h 1122"/>
                <a:gd name="T20" fmla="*/ 250 w 1128"/>
                <a:gd name="T21" fmla="*/ 20 h 1122"/>
                <a:gd name="T22" fmla="*/ 301 w 1128"/>
                <a:gd name="T23" fmla="*/ 0 h 1122"/>
                <a:gd name="T24" fmla="*/ 302 w 1128"/>
                <a:gd name="T25" fmla="*/ 0 h 1122"/>
                <a:gd name="T26" fmla="*/ 353 w 1128"/>
                <a:gd name="T27" fmla="*/ 21 h 1122"/>
                <a:gd name="T28" fmla="*/ 1100 w 1128"/>
                <a:gd name="T29" fmla="*/ 780 h 1122"/>
                <a:gd name="T30" fmla="*/ 1099 w 1128"/>
                <a:gd name="T31" fmla="*/ 882 h 1122"/>
                <a:gd name="T32" fmla="*/ 877 w 1128"/>
                <a:gd name="T33" fmla="*/ 1101 h 1122"/>
                <a:gd name="T34" fmla="*/ 826 w 1128"/>
                <a:gd name="T35" fmla="*/ 1122 h 1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28" h="1122">
                  <a:moveTo>
                    <a:pt x="182" y="292"/>
                  </a:moveTo>
                  <a:lnTo>
                    <a:pt x="827" y="947"/>
                  </a:lnTo>
                  <a:lnTo>
                    <a:pt x="946" y="830"/>
                  </a:lnTo>
                  <a:lnTo>
                    <a:pt x="300" y="175"/>
                  </a:lnTo>
                  <a:lnTo>
                    <a:pt x="182" y="292"/>
                  </a:lnTo>
                  <a:close/>
                  <a:moveTo>
                    <a:pt x="826" y="1122"/>
                  </a:moveTo>
                  <a:lnTo>
                    <a:pt x="826" y="1122"/>
                  </a:lnTo>
                  <a:cubicBezTo>
                    <a:pt x="807" y="1121"/>
                    <a:pt x="788" y="1114"/>
                    <a:pt x="775" y="1100"/>
                  </a:cubicBezTo>
                  <a:lnTo>
                    <a:pt x="28" y="342"/>
                  </a:lnTo>
                  <a:cubicBezTo>
                    <a:pt x="0" y="313"/>
                    <a:pt x="0" y="267"/>
                    <a:pt x="28" y="239"/>
                  </a:cubicBezTo>
                  <a:lnTo>
                    <a:pt x="250" y="20"/>
                  </a:lnTo>
                  <a:cubicBezTo>
                    <a:pt x="264" y="7"/>
                    <a:pt x="282" y="0"/>
                    <a:pt x="301" y="0"/>
                  </a:cubicBezTo>
                  <a:lnTo>
                    <a:pt x="302" y="0"/>
                  </a:lnTo>
                  <a:cubicBezTo>
                    <a:pt x="321" y="0"/>
                    <a:pt x="339" y="8"/>
                    <a:pt x="353" y="21"/>
                  </a:cubicBezTo>
                  <a:lnTo>
                    <a:pt x="1100" y="780"/>
                  </a:lnTo>
                  <a:cubicBezTo>
                    <a:pt x="1128" y="808"/>
                    <a:pt x="1128" y="854"/>
                    <a:pt x="1099" y="882"/>
                  </a:cubicBezTo>
                  <a:lnTo>
                    <a:pt x="877" y="1101"/>
                  </a:lnTo>
                  <a:cubicBezTo>
                    <a:pt x="864" y="1114"/>
                    <a:pt x="845" y="1122"/>
                    <a:pt x="826" y="1122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857">
              <a:extLst>
                <a:ext uri="{FF2B5EF4-FFF2-40B4-BE49-F238E27FC236}">
                  <a16:creationId xmlns:a16="http://schemas.microsoft.com/office/drawing/2014/main" id="{E59BCEB7-7B8E-90CC-A9B7-BA603FD6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151" y="5308601"/>
              <a:ext cx="112713" cy="106363"/>
            </a:xfrm>
            <a:custGeom>
              <a:avLst/>
              <a:gdLst>
                <a:gd name="T0" fmla="*/ 80 w 886"/>
                <a:gd name="T1" fmla="*/ 842 h 842"/>
                <a:gd name="T2" fmla="*/ 28 w 886"/>
                <a:gd name="T3" fmla="*/ 820 h 842"/>
                <a:gd name="T4" fmla="*/ 30 w 886"/>
                <a:gd name="T5" fmla="*/ 717 h 842"/>
                <a:gd name="T6" fmla="*/ 757 w 886"/>
                <a:gd name="T7" fmla="*/ 28 h 842"/>
                <a:gd name="T8" fmla="*/ 859 w 886"/>
                <a:gd name="T9" fmla="*/ 30 h 842"/>
                <a:gd name="T10" fmla="*/ 856 w 886"/>
                <a:gd name="T11" fmla="*/ 133 h 842"/>
                <a:gd name="T12" fmla="*/ 130 w 886"/>
                <a:gd name="T13" fmla="*/ 822 h 842"/>
                <a:gd name="T14" fmla="*/ 80 w 886"/>
                <a:gd name="T15" fmla="*/ 842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6" h="842">
                  <a:moveTo>
                    <a:pt x="80" y="842"/>
                  </a:moveTo>
                  <a:cubicBezTo>
                    <a:pt x="61" y="842"/>
                    <a:pt x="42" y="835"/>
                    <a:pt x="28" y="820"/>
                  </a:cubicBezTo>
                  <a:cubicBezTo>
                    <a:pt x="0" y="791"/>
                    <a:pt x="1" y="745"/>
                    <a:pt x="30" y="717"/>
                  </a:cubicBezTo>
                  <a:lnTo>
                    <a:pt x="757" y="28"/>
                  </a:lnTo>
                  <a:cubicBezTo>
                    <a:pt x="786" y="0"/>
                    <a:pt x="831" y="1"/>
                    <a:pt x="859" y="30"/>
                  </a:cubicBezTo>
                  <a:cubicBezTo>
                    <a:pt x="886" y="59"/>
                    <a:pt x="885" y="105"/>
                    <a:pt x="856" y="133"/>
                  </a:cubicBezTo>
                  <a:lnTo>
                    <a:pt x="130" y="822"/>
                  </a:lnTo>
                  <a:cubicBezTo>
                    <a:pt x="116" y="835"/>
                    <a:pt x="98" y="842"/>
                    <a:pt x="80" y="842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858">
              <a:extLst>
                <a:ext uri="{FF2B5EF4-FFF2-40B4-BE49-F238E27FC236}">
                  <a16:creationId xmlns:a16="http://schemas.microsoft.com/office/drawing/2014/main" id="{FF1E5A6E-1749-8E1C-6A75-6AAB4069B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0238" y="5378451"/>
              <a:ext cx="112713" cy="107950"/>
            </a:xfrm>
            <a:custGeom>
              <a:avLst/>
              <a:gdLst>
                <a:gd name="T0" fmla="*/ 80 w 886"/>
                <a:gd name="T1" fmla="*/ 842 h 842"/>
                <a:gd name="T2" fmla="*/ 28 w 886"/>
                <a:gd name="T3" fmla="*/ 820 h 842"/>
                <a:gd name="T4" fmla="*/ 30 w 886"/>
                <a:gd name="T5" fmla="*/ 717 h 842"/>
                <a:gd name="T6" fmla="*/ 756 w 886"/>
                <a:gd name="T7" fmla="*/ 28 h 842"/>
                <a:gd name="T8" fmla="*/ 859 w 886"/>
                <a:gd name="T9" fmla="*/ 30 h 842"/>
                <a:gd name="T10" fmla="*/ 856 w 886"/>
                <a:gd name="T11" fmla="*/ 133 h 842"/>
                <a:gd name="T12" fmla="*/ 130 w 886"/>
                <a:gd name="T13" fmla="*/ 822 h 842"/>
                <a:gd name="T14" fmla="*/ 80 w 886"/>
                <a:gd name="T15" fmla="*/ 842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6" h="842">
                  <a:moveTo>
                    <a:pt x="80" y="842"/>
                  </a:moveTo>
                  <a:cubicBezTo>
                    <a:pt x="61" y="842"/>
                    <a:pt x="42" y="835"/>
                    <a:pt x="28" y="820"/>
                  </a:cubicBezTo>
                  <a:cubicBezTo>
                    <a:pt x="0" y="791"/>
                    <a:pt x="1" y="745"/>
                    <a:pt x="30" y="717"/>
                  </a:cubicBezTo>
                  <a:lnTo>
                    <a:pt x="756" y="28"/>
                  </a:lnTo>
                  <a:cubicBezTo>
                    <a:pt x="785" y="0"/>
                    <a:pt x="831" y="1"/>
                    <a:pt x="859" y="30"/>
                  </a:cubicBezTo>
                  <a:cubicBezTo>
                    <a:pt x="886" y="59"/>
                    <a:pt x="885" y="105"/>
                    <a:pt x="856" y="133"/>
                  </a:cubicBezTo>
                  <a:lnTo>
                    <a:pt x="130" y="822"/>
                  </a:lnTo>
                  <a:cubicBezTo>
                    <a:pt x="116" y="836"/>
                    <a:pt x="98" y="842"/>
                    <a:pt x="80" y="84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859">
              <a:extLst>
                <a:ext uri="{FF2B5EF4-FFF2-40B4-BE49-F238E27FC236}">
                  <a16:creationId xmlns:a16="http://schemas.microsoft.com/office/drawing/2014/main" id="{E0641ED7-D7B2-0B97-DA32-96EDBC037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1" y="5607051"/>
              <a:ext cx="180975" cy="19050"/>
            </a:xfrm>
            <a:custGeom>
              <a:avLst/>
              <a:gdLst>
                <a:gd name="T0" fmla="*/ 1350 w 1422"/>
                <a:gd name="T1" fmla="*/ 145 h 145"/>
                <a:gd name="T2" fmla="*/ 73 w 1422"/>
                <a:gd name="T3" fmla="*/ 145 h 145"/>
                <a:gd name="T4" fmla="*/ 0 w 1422"/>
                <a:gd name="T5" fmla="*/ 72 h 145"/>
                <a:gd name="T6" fmla="*/ 73 w 1422"/>
                <a:gd name="T7" fmla="*/ 0 h 145"/>
                <a:gd name="T8" fmla="*/ 1350 w 1422"/>
                <a:gd name="T9" fmla="*/ 0 h 145"/>
                <a:gd name="T10" fmla="*/ 1422 w 1422"/>
                <a:gd name="T11" fmla="*/ 72 h 145"/>
                <a:gd name="T12" fmla="*/ 1350 w 1422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2" h="145">
                  <a:moveTo>
                    <a:pt x="1350" y="145"/>
                  </a:moveTo>
                  <a:lnTo>
                    <a:pt x="73" y="145"/>
                  </a:lnTo>
                  <a:cubicBezTo>
                    <a:pt x="33" y="145"/>
                    <a:pt x="0" y="112"/>
                    <a:pt x="0" y="72"/>
                  </a:cubicBezTo>
                  <a:cubicBezTo>
                    <a:pt x="0" y="32"/>
                    <a:pt x="33" y="0"/>
                    <a:pt x="73" y="0"/>
                  </a:cubicBezTo>
                  <a:lnTo>
                    <a:pt x="1350" y="0"/>
                  </a:lnTo>
                  <a:cubicBezTo>
                    <a:pt x="1390" y="0"/>
                    <a:pt x="1422" y="32"/>
                    <a:pt x="1422" y="72"/>
                  </a:cubicBezTo>
                  <a:cubicBezTo>
                    <a:pt x="1422" y="112"/>
                    <a:pt x="1390" y="145"/>
                    <a:pt x="1350" y="145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860">
              <a:extLst>
                <a:ext uri="{FF2B5EF4-FFF2-40B4-BE49-F238E27FC236}">
                  <a16:creationId xmlns:a16="http://schemas.microsoft.com/office/drawing/2014/main" id="{42F75BDC-310F-E047-CCA5-8E5CE7F23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1963" y="5645151"/>
              <a:ext cx="247650" cy="19050"/>
            </a:xfrm>
            <a:custGeom>
              <a:avLst/>
              <a:gdLst>
                <a:gd name="T0" fmla="*/ 1870 w 1943"/>
                <a:gd name="T1" fmla="*/ 145 h 145"/>
                <a:gd name="T2" fmla="*/ 72 w 1943"/>
                <a:gd name="T3" fmla="*/ 145 h 145"/>
                <a:gd name="T4" fmla="*/ 0 w 1943"/>
                <a:gd name="T5" fmla="*/ 73 h 145"/>
                <a:gd name="T6" fmla="*/ 72 w 1943"/>
                <a:gd name="T7" fmla="*/ 0 h 145"/>
                <a:gd name="T8" fmla="*/ 1870 w 1943"/>
                <a:gd name="T9" fmla="*/ 0 h 145"/>
                <a:gd name="T10" fmla="*/ 1943 w 1943"/>
                <a:gd name="T11" fmla="*/ 73 h 145"/>
                <a:gd name="T12" fmla="*/ 1870 w 1943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43" h="145">
                  <a:moveTo>
                    <a:pt x="1870" y="145"/>
                  </a:moveTo>
                  <a:lnTo>
                    <a:pt x="72" y="145"/>
                  </a:lnTo>
                  <a:cubicBezTo>
                    <a:pt x="32" y="145"/>
                    <a:pt x="0" y="113"/>
                    <a:pt x="0" y="73"/>
                  </a:cubicBezTo>
                  <a:cubicBezTo>
                    <a:pt x="0" y="33"/>
                    <a:pt x="32" y="0"/>
                    <a:pt x="72" y="0"/>
                  </a:cubicBezTo>
                  <a:lnTo>
                    <a:pt x="1870" y="0"/>
                  </a:lnTo>
                  <a:cubicBezTo>
                    <a:pt x="1910" y="0"/>
                    <a:pt x="1943" y="33"/>
                    <a:pt x="1943" y="73"/>
                  </a:cubicBezTo>
                  <a:cubicBezTo>
                    <a:pt x="1943" y="113"/>
                    <a:pt x="1910" y="145"/>
                    <a:pt x="1870" y="145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861">
              <a:extLst>
                <a:ext uri="{FF2B5EF4-FFF2-40B4-BE49-F238E27FC236}">
                  <a16:creationId xmlns:a16="http://schemas.microsoft.com/office/drawing/2014/main" id="{FBEBEECC-6C92-FE73-262B-753608E4B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4213" y="5424488"/>
              <a:ext cx="66675" cy="84138"/>
            </a:xfrm>
            <a:custGeom>
              <a:avLst/>
              <a:gdLst>
                <a:gd name="T0" fmla="*/ 379 w 521"/>
                <a:gd name="T1" fmla="*/ 660 h 660"/>
                <a:gd name="T2" fmla="*/ 370 w 521"/>
                <a:gd name="T3" fmla="*/ 659 h 660"/>
                <a:gd name="T4" fmla="*/ 307 w 521"/>
                <a:gd name="T5" fmla="*/ 578 h 660"/>
                <a:gd name="T6" fmla="*/ 348 w 521"/>
                <a:gd name="T7" fmla="*/ 261 h 660"/>
                <a:gd name="T8" fmla="*/ 129 w 521"/>
                <a:gd name="T9" fmla="*/ 456 h 660"/>
                <a:gd name="T10" fmla="*/ 27 w 521"/>
                <a:gd name="T11" fmla="*/ 450 h 660"/>
                <a:gd name="T12" fmla="*/ 33 w 521"/>
                <a:gd name="T13" fmla="*/ 348 h 660"/>
                <a:gd name="T14" fmla="*/ 397 w 521"/>
                <a:gd name="T15" fmla="*/ 24 h 660"/>
                <a:gd name="T16" fmla="*/ 479 w 521"/>
                <a:gd name="T17" fmla="*/ 14 h 660"/>
                <a:gd name="T18" fmla="*/ 517 w 521"/>
                <a:gd name="T19" fmla="*/ 88 h 660"/>
                <a:gd name="T20" fmla="*/ 451 w 521"/>
                <a:gd name="T21" fmla="*/ 597 h 660"/>
                <a:gd name="T22" fmla="*/ 379 w 521"/>
                <a:gd name="T23" fmla="*/ 660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1" h="660">
                  <a:moveTo>
                    <a:pt x="379" y="660"/>
                  </a:moveTo>
                  <a:cubicBezTo>
                    <a:pt x="376" y="660"/>
                    <a:pt x="373" y="659"/>
                    <a:pt x="370" y="659"/>
                  </a:cubicBezTo>
                  <a:cubicBezTo>
                    <a:pt x="330" y="654"/>
                    <a:pt x="302" y="618"/>
                    <a:pt x="307" y="578"/>
                  </a:cubicBezTo>
                  <a:lnTo>
                    <a:pt x="348" y="261"/>
                  </a:lnTo>
                  <a:lnTo>
                    <a:pt x="129" y="456"/>
                  </a:lnTo>
                  <a:cubicBezTo>
                    <a:pt x="99" y="483"/>
                    <a:pt x="54" y="480"/>
                    <a:pt x="27" y="450"/>
                  </a:cubicBezTo>
                  <a:cubicBezTo>
                    <a:pt x="0" y="420"/>
                    <a:pt x="3" y="374"/>
                    <a:pt x="33" y="348"/>
                  </a:cubicBezTo>
                  <a:lnTo>
                    <a:pt x="397" y="24"/>
                  </a:lnTo>
                  <a:cubicBezTo>
                    <a:pt x="420" y="4"/>
                    <a:pt x="452" y="0"/>
                    <a:pt x="479" y="14"/>
                  </a:cubicBezTo>
                  <a:cubicBezTo>
                    <a:pt x="506" y="29"/>
                    <a:pt x="521" y="58"/>
                    <a:pt x="517" y="88"/>
                  </a:cubicBezTo>
                  <a:lnTo>
                    <a:pt x="451" y="597"/>
                  </a:lnTo>
                  <a:cubicBezTo>
                    <a:pt x="446" y="633"/>
                    <a:pt x="415" y="660"/>
                    <a:pt x="379" y="66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862">
              <a:extLst>
                <a:ext uri="{FF2B5EF4-FFF2-40B4-BE49-F238E27FC236}">
                  <a16:creationId xmlns:a16="http://schemas.microsoft.com/office/drawing/2014/main" id="{7E8F4CD4-7BFD-CEEC-71AD-C75A1378E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6601" y="5449888"/>
              <a:ext cx="136525" cy="142875"/>
            </a:xfrm>
            <a:custGeom>
              <a:avLst/>
              <a:gdLst>
                <a:gd name="T0" fmla="*/ 988 w 1069"/>
                <a:gd name="T1" fmla="*/ 1113 h 1113"/>
                <a:gd name="T2" fmla="*/ 918 w 1069"/>
                <a:gd name="T3" fmla="*/ 1062 h 1113"/>
                <a:gd name="T4" fmla="*/ 52 w 1069"/>
                <a:gd name="T5" fmla="*/ 148 h 1113"/>
                <a:gd name="T6" fmla="*/ 17 w 1069"/>
                <a:gd name="T7" fmla="*/ 52 h 1113"/>
                <a:gd name="T8" fmla="*/ 114 w 1069"/>
                <a:gd name="T9" fmla="*/ 17 h 1113"/>
                <a:gd name="T10" fmla="*/ 1057 w 1069"/>
                <a:gd name="T11" fmla="*/ 1020 h 1113"/>
                <a:gd name="T12" fmla="*/ 1009 w 1069"/>
                <a:gd name="T13" fmla="*/ 1110 h 1113"/>
                <a:gd name="T14" fmla="*/ 988 w 1069"/>
                <a:gd name="T15" fmla="*/ 1113 h 1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9" h="1113">
                  <a:moveTo>
                    <a:pt x="988" y="1113"/>
                  </a:moveTo>
                  <a:cubicBezTo>
                    <a:pt x="957" y="1113"/>
                    <a:pt x="928" y="1093"/>
                    <a:pt x="918" y="1062"/>
                  </a:cubicBezTo>
                  <a:cubicBezTo>
                    <a:pt x="917" y="1056"/>
                    <a:pt x="729" y="469"/>
                    <a:pt x="52" y="148"/>
                  </a:cubicBezTo>
                  <a:cubicBezTo>
                    <a:pt x="16" y="131"/>
                    <a:pt x="0" y="88"/>
                    <a:pt x="17" y="52"/>
                  </a:cubicBezTo>
                  <a:cubicBezTo>
                    <a:pt x="34" y="16"/>
                    <a:pt x="78" y="0"/>
                    <a:pt x="114" y="17"/>
                  </a:cubicBezTo>
                  <a:cubicBezTo>
                    <a:pt x="852" y="367"/>
                    <a:pt x="1049" y="993"/>
                    <a:pt x="1057" y="1020"/>
                  </a:cubicBezTo>
                  <a:cubicBezTo>
                    <a:pt x="1069" y="1058"/>
                    <a:pt x="1047" y="1099"/>
                    <a:pt x="1009" y="1110"/>
                  </a:cubicBezTo>
                  <a:cubicBezTo>
                    <a:pt x="1002" y="1112"/>
                    <a:pt x="995" y="1113"/>
                    <a:pt x="988" y="1113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863">
              <a:extLst>
                <a:ext uri="{FF2B5EF4-FFF2-40B4-BE49-F238E27FC236}">
                  <a16:creationId xmlns:a16="http://schemas.microsoft.com/office/drawing/2014/main" id="{6504729D-8573-A09A-5CC1-3E703E30F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201" y="5475288"/>
              <a:ext cx="141288" cy="139700"/>
            </a:xfrm>
            <a:custGeom>
              <a:avLst/>
              <a:gdLst>
                <a:gd name="T0" fmla="*/ 1021 w 1104"/>
                <a:gd name="T1" fmla="*/ 1089 h 1089"/>
                <a:gd name="T2" fmla="*/ 989 w 1104"/>
                <a:gd name="T3" fmla="*/ 1082 h 1089"/>
                <a:gd name="T4" fmla="*/ 18 w 1104"/>
                <a:gd name="T5" fmla="*/ 116 h 1089"/>
                <a:gd name="T6" fmla="*/ 49 w 1104"/>
                <a:gd name="T7" fmla="*/ 18 h 1089"/>
                <a:gd name="T8" fmla="*/ 147 w 1104"/>
                <a:gd name="T9" fmla="*/ 49 h 1089"/>
                <a:gd name="T10" fmla="*/ 1053 w 1104"/>
                <a:gd name="T11" fmla="*/ 952 h 1089"/>
                <a:gd name="T12" fmla="*/ 1086 w 1104"/>
                <a:gd name="T13" fmla="*/ 1049 h 1089"/>
                <a:gd name="T14" fmla="*/ 1021 w 1104"/>
                <a:gd name="T15" fmla="*/ 1089 h 1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4" h="1089">
                  <a:moveTo>
                    <a:pt x="1021" y="1089"/>
                  </a:moveTo>
                  <a:cubicBezTo>
                    <a:pt x="1010" y="1089"/>
                    <a:pt x="999" y="1087"/>
                    <a:pt x="989" y="1082"/>
                  </a:cubicBezTo>
                  <a:cubicBezTo>
                    <a:pt x="362" y="773"/>
                    <a:pt x="32" y="142"/>
                    <a:pt x="18" y="116"/>
                  </a:cubicBezTo>
                  <a:cubicBezTo>
                    <a:pt x="0" y="80"/>
                    <a:pt x="14" y="36"/>
                    <a:pt x="49" y="18"/>
                  </a:cubicBezTo>
                  <a:cubicBezTo>
                    <a:pt x="85" y="0"/>
                    <a:pt x="128" y="14"/>
                    <a:pt x="147" y="49"/>
                  </a:cubicBezTo>
                  <a:cubicBezTo>
                    <a:pt x="151" y="57"/>
                    <a:pt x="470" y="665"/>
                    <a:pt x="1053" y="952"/>
                  </a:cubicBezTo>
                  <a:cubicBezTo>
                    <a:pt x="1089" y="970"/>
                    <a:pt x="1104" y="1013"/>
                    <a:pt x="1086" y="1049"/>
                  </a:cubicBezTo>
                  <a:cubicBezTo>
                    <a:pt x="1073" y="1075"/>
                    <a:pt x="1048" y="1089"/>
                    <a:pt x="1021" y="1089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864">
              <a:extLst>
                <a:ext uri="{FF2B5EF4-FFF2-40B4-BE49-F238E27FC236}">
                  <a16:creationId xmlns:a16="http://schemas.microsoft.com/office/drawing/2014/main" id="{9B95CB87-7E69-139C-ECAC-35FB7707E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8" y="5580063"/>
              <a:ext cx="66675" cy="63500"/>
            </a:xfrm>
            <a:custGeom>
              <a:avLst/>
              <a:gdLst>
                <a:gd name="T0" fmla="*/ 80 w 530"/>
                <a:gd name="T1" fmla="*/ 494 h 494"/>
                <a:gd name="T2" fmla="*/ 27 w 530"/>
                <a:gd name="T3" fmla="*/ 470 h 494"/>
                <a:gd name="T4" fmla="*/ 31 w 530"/>
                <a:gd name="T5" fmla="*/ 368 h 494"/>
                <a:gd name="T6" fmla="*/ 401 w 530"/>
                <a:gd name="T7" fmla="*/ 27 h 494"/>
                <a:gd name="T8" fmla="*/ 503 w 530"/>
                <a:gd name="T9" fmla="*/ 31 h 494"/>
                <a:gd name="T10" fmla="*/ 499 w 530"/>
                <a:gd name="T11" fmla="*/ 133 h 494"/>
                <a:gd name="T12" fmla="*/ 130 w 530"/>
                <a:gd name="T13" fmla="*/ 474 h 494"/>
                <a:gd name="T14" fmla="*/ 80 w 530"/>
                <a:gd name="T15" fmla="*/ 49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0" h="494">
                  <a:moveTo>
                    <a:pt x="80" y="494"/>
                  </a:moveTo>
                  <a:cubicBezTo>
                    <a:pt x="61" y="494"/>
                    <a:pt x="42" y="486"/>
                    <a:pt x="27" y="470"/>
                  </a:cubicBezTo>
                  <a:cubicBezTo>
                    <a:pt x="0" y="441"/>
                    <a:pt x="2" y="395"/>
                    <a:pt x="31" y="368"/>
                  </a:cubicBezTo>
                  <a:lnTo>
                    <a:pt x="401" y="27"/>
                  </a:lnTo>
                  <a:cubicBezTo>
                    <a:pt x="430" y="0"/>
                    <a:pt x="476" y="2"/>
                    <a:pt x="503" y="31"/>
                  </a:cubicBezTo>
                  <a:cubicBezTo>
                    <a:pt x="530" y="60"/>
                    <a:pt x="528" y="106"/>
                    <a:pt x="499" y="133"/>
                  </a:cubicBezTo>
                  <a:lnTo>
                    <a:pt x="130" y="474"/>
                  </a:lnTo>
                  <a:cubicBezTo>
                    <a:pt x="116" y="487"/>
                    <a:pt x="98" y="494"/>
                    <a:pt x="80" y="49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865">
              <a:extLst>
                <a:ext uri="{FF2B5EF4-FFF2-40B4-BE49-F238E27FC236}">
                  <a16:creationId xmlns:a16="http://schemas.microsoft.com/office/drawing/2014/main" id="{9F53FA20-B370-235D-CEE3-72978B701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163" y="5473701"/>
              <a:ext cx="58738" cy="46038"/>
            </a:xfrm>
            <a:custGeom>
              <a:avLst/>
              <a:gdLst>
                <a:gd name="T0" fmla="*/ 378 w 461"/>
                <a:gd name="T1" fmla="*/ 358 h 358"/>
                <a:gd name="T2" fmla="*/ 338 w 461"/>
                <a:gd name="T3" fmla="*/ 345 h 358"/>
                <a:gd name="T4" fmla="*/ 42 w 461"/>
                <a:gd name="T5" fmla="*/ 143 h 358"/>
                <a:gd name="T6" fmla="*/ 23 w 461"/>
                <a:gd name="T7" fmla="*/ 42 h 358"/>
                <a:gd name="T8" fmla="*/ 124 w 461"/>
                <a:gd name="T9" fmla="*/ 23 h 358"/>
                <a:gd name="T10" fmla="*/ 419 w 461"/>
                <a:gd name="T11" fmla="*/ 226 h 358"/>
                <a:gd name="T12" fmla="*/ 438 w 461"/>
                <a:gd name="T13" fmla="*/ 327 h 358"/>
                <a:gd name="T14" fmla="*/ 378 w 461"/>
                <a:gd name="T15" fmla="*/ 358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1" h="358">
                  <a:moveTo>
                    <a:pt x="378" y="358"/>
                  </a:moveTo>
                  <a:cubicBezTo>
                    <a:pt x="364" y="358"/>
                    <a:pt x="350" y="354"/>
                    <a:pt x="338" y="345"/>
                  </a:cubicBezTo>
                  <a:lnTo>
                    <a:pt x="42" y="143"/>
                  </a:lnTo>
                  <a:cubicBezTo>
                    <a:pt x="9" y="120"/>
                    <a:pt x="0" y="75"/>
                    <a:pt x="23" y="42"/>
                  </a:cubicBezTo>
                  <a:cubicBezTo>
                    <a:pt x="45" y="9"/>
                    <a:pt x="91" y="0"/>
                    <a:pt x="124" y="23"/>
                  </a:cubicBezTo>
                  <a:lnTo>
                    <a:pt x="419" y="226"/>
                  </a:lnTo>
                  <a:cubicBezTo>
                    <a:pt x="452" y="248"/>
                    <a:pt x="461" y="294"/>
                    <a:pt x="438" y="327"/>
                  </a:cubicBezTo>
                  <a:cubicBezTo>
                    <a:pt x="424" y="347"/>
                    <a:pt x="402" y="358"/>
                    <a:pt x="378" y="35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 866">
              <a:extLst>
                <a:ext uri="{FF2B5EF4-FFF2-40B4-BE49-F238E27FC236}">
                  <a16:creationId xmlns:a16="http://schemas.microsoft.com/office/drawing/2014/main" id="{F0897144-58E1-302A-9205-6AAF65BE5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2113" y="5545138"/>
              <a:ext cx="66675" cy="19050"/>
            </a:xfrm>
            <a:custGeom>
              <a:avLst/>
              <a:gdLst>
                <a:gd name="T0" fmla="*/ 457 w 529"/>
                <a:gd name="T1" fmla="*/ 145 h 145"/>
                <a:gd name="T2" fmla="*/ 72 w 529"/>
                <a:gd name="T3" fmla="*/ 145 h 145"/>
                <a:gd name="T4" fmla="*/ 0 w 529"/>
                <a:gd name="T5" fmla="*/ 73 h 145"/>
                <a:gd name="T6" fmla="*/ 72 w 529"/>
                <a:gd name="T7" fmla="*/ 0 h 145"/>
                <a:gd name="T8" fmla="*/ 457 w 529"/>
                <a:gd name="T9" fmla="*/ 0 h 145"/>
                <a:gd name="T10" fmla="*/ 529 w 529"/>
                <a:gd name="T11" fmla="*/ 73 h 145"/>
                <a:gd name="T12" fmla="*/ 457 w 529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9" h="145">
                  <a:moveTo>
                    <a:pt x="457" y="145"/>
                  </a:moveTo>
                  <a:lnTo>
                    <a:pt x="72" y="145"/>
                  </a:lnTo>
                  <a:cubicBezTo>
                    <a:pt x="32" y="145"/>
                    <a:pt x="0" y="113"/>
                    <a:pt x="0" y="73"/>
                  </a:cubicBezTo>
                  <a:cubicBezTo>
                    <a:pt x="0" y="33"/>
                    <a:pt x="32" y="0"/>
                    <a:pt x="72" y="0"/>
                  </a:cubicBezTo>
                  <a:lnTo>
                    <a:pt x="457" y="0"/>
                  </a:lnTo>
                  <a:cubicBezTo>
                    <a:pt x="497" y="0"/>
                    <a:pt x="529" y="33"/>
                    <a:pt x="529" y="73"/>
                  </a:cubicBezTo>
                  <a:cubicBezTo>
                    <a:pt x="529" y="113"/>
                    <a:pt x="497" y="145"/>
                    <a:pt x="457" y="145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 867">
              <a:extLst>
                <a:ext uri="{FF2B5EF4-FFF2-40B4-BE49-F238E27FC236}">
                  <a16:creationId xmlns:a16="http://schemas.microsoft.com/office/drawing/2014/main" id="{22AD0E3F-3656-C153-5FA7-52AFB3F62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9101" y="5588001"/>
              <a:ext cx="53975" cy="46038"/>
            </a:xfrm>
            <a:custGeom>
              <a:avLst/>
              <a:gdLst>
                <a:gd name="T0" fmla="*/ 82 w 422"/>
                <a:gd name="T1" fmla="*/ 365 h 365"/>
                <a:gd name="T2" fmla="*/ 26 w 422"/>
                <a:gd name="T3" fmla="*/ 338 h 365"/>
                <a:gd name="T4" fmla="*/ 36 w 422"/>
                <a:gd name="T5" fmla="*/ 236 h 365"/>
                <a:gd name="T6" fmla="*/ 295 w 422"/>
                <a:gd name="T7" fmla="*/ 25 h 365"/>
                <a:gd name="T8" fmla="*/ 397 w 422"/>
                <a:gd name="T9" fmla="*/ 36 h 365"/>
                <a:gd name="T10" fmla="*/ 386 w 422"/>
                <a:gd name="T11" fmla="*/ 137 h 365"/>
                <a:gd name="T12" fmla="*/ 128 w 422"/>
                <a:gd name="T13" fmla="*/ 348 h 365"/>
                <a:gd name="T14" fmla="*/ 82 w 422"/>
                <a:gd name="T15" fmla="*/ 3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2" h="365">
                  <a:moveTo>
                    <a:pt x="82" y="365"/>
                  </a:moveTo>
                  <a:cubicBezTo>
                    <a:pt x="61" y="365"/>
                    <a:pt x="40" y="355"/>
                    <a:pt x="26" y="338"/>
                  </a:cubicBezTo>
                  <a:cubicBezTo>
                    <a:pt x="0" y="307"/>
                    <a:pt x="5" y="261"/>
                    <a:pt x="36" y="236"/>
                  </a:cubicBezTo>
                  <a:lnTo>
                    <a:pt x="295" y="25"/>
                  </a:lnTo>
                  <a:cubicBezTo>
                    <a:pt x="326" y="0"/>
                    <a:pt x="372" y="5"/>
                    <a:pt x="397" y="36"/>
                  </a:cubicBezTo>
                  <a:cubicBezTo>
                    <a:pt x="422" y="67"/>
                    <a:pt x="418" y="112"/>
                    <a:pt x="386" y="137"/>
                  </a:cubicBezTo>
                  <a:lnTo>
                    <a:pt x="128" y="348"/>
                  </a:lnTo>
                  <a:cubicBezTo>
                    <a:pt x="114" y="359"/>
                    <a:pt x="98" y="365"/>
                    <a:pt x="82" y="365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 868">
              <a:extLst>
                <a:ext uri="{FF2B5EF4-FFF2-40B4-BE49-F238E27FC236}">
                  <a16:creationId xmlns:a16="http://schemas.microsoft.com/office/drawing/2014/main" id="{CD0B950C-F9C7-C62B-CF8F-657116E7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376" y="5426076"/>
              <a:ext cx="41275" cy="57150"/>
            </a:xfrm>
            <a:custGeom>
              <a:avLst/>
              <a:gdLst>
                <a:gd name="T0" fmla="*/ 233 w 315"/>
                <a:gd name="T1" fmla="*/ 456 h 456"/>
                <a:gd name="T2" fmla="*/ 168 w 315"/>
                <a:gd name="T3" fmla="*/ 416 h 456"/>
                <a:gd name="T4" fmla="*/ 18 w 315"/>
                <a:gd name="T5" fmla="*/ 115 h 456"/>
                <a:gd name="T6" fmla="*/ 50 w 315"/>
                <a:gd name="T7" fmla="*/ 17 h 456"/>
                <a:gd name="T8" fmla="*/ 147 w 315"/>
                <a:gd name="T9" fmla="*/ 50 h 456"/>
                <a:gd name="T10" fmla="*/ 298 w 315"/>
                <a:gd name="T11" fmla="*/ 351 h 456"/>
                <a:gd name="T12" fmla="*/ 265 w 315"/>
                <a:gd name="T13" fmla="*/ 449 h 456"/>
                <a:gd name="T14" fmla="*/ 233 w 315"/>
                <a:gd name="T15" fmla="*/ 45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5" h="456">
                  <a:moveTo>
                    <a:pt x="233" y="456"/>
                  </a:moveTo>
                  <a:cubicBezTo>
                    <a:pt x="206" y="456"/>
                    <a:pt x="180" y="442"/>
                    <a:pt x="168" y="416"/>
                  </a:cubicBezTo>
                  <a:lnTo>
                    <a:pt x="18" y="115"/>
                  </a:lnTo>
                  <a:cubicBezTo>
                    <a:pt x="0" y="79"/>
                    <a:pt x="14" y="35"/>
                    <a:pt x="50" y="17"/>
                  </a:cubicBezTo>
                  <a:cubicBezTo>
                    <a:pt x="86" y="0"/>
                    <a:pt x="130" y="14"/>
                    <a:pt x="147" y="50"/>
                  </a:cubicBezTo>
                  <a:lnTo>
                    <a:pt x="298" y="351"/>
                  </a:lnTo>
                  <a:cubicBezTo>
                    <a:pt x="315" y="387"/>
                    <a:pt x="301" y="431"/>
                    <a:pt x="265" y="449"/>
                  </a:cubicBezTo>
                  <a:cubicBezTo>
                    <a:pt x="255" y="454"/>
                    <a:pt x="244" y="456"/>
                    <a:pt x="233" y="45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3" name="Document_managemen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C06A266-10A1-6B75-E838-9D955FA95C11}"/>
              </a:ext>
            </a:extLst>
          </p:cNvPr>
          <p:cNvGrpSpPr>
            <a:grpSpLocks noChangeAspect="1"/>
          </p:cNvGrpSpPr>
          <p:nvPr/>
        </p:nvGrpSpPr>
        <p:grpSpPr>
          <a:xfrm>
            <a:off x="6056214" y="3707262"/>
            <a:ext cx="521818" cy="537420"/>
            <a:chOff x="6596063" y="4627563"/>
            <a:chExt cx="477838" cy="492125"/>
          </a:xfrm>
          <a:solidFill>
            <a:schemeClr val="bg1"/>
          </a:solidFill>
        </p:grpSpPr>
        <p:sp>
          <p:nvSpPr>
            <p:cNvPr id="94" name="Freeform 637">
              <a:extLst>
                <a:ext uri="{FF2B5EF4-FFF2-40B4-BE49-F238E27FC236}">
                  <a16:creationId xmlns:a16="http://schemas.microsoft.com/office/drawing/2014/main" id="{D3197DEB-05D3-42F0-F7C5-5CD96DDFDF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34176" y="4725988"/>
              <a:ext cx="198438" cy="276225"/>
            </a:xfrm>
            <a:custGeom>
              <a:avLst/>
              <a:gdLst>
                <a:gd name="T0" fmla="*/ 15 w 218"/>
                <a:gd name="T1" fmla="*/ 287 h 302"/>
                <a:gd name="T2" fmla="*/ 203 w 218"/>
                <a:gd name="T3" fmla="*/ 287 h 302"/>
                <a:gd name="T4" fmla="*/ 203 w 218"/>
                <a:gd name="T5" fmla="*/ 15 h 302"/>
                <a:gd name="T6" fmla="*/ 15 w 218"/>
                <a:gd name="T7" fmla="*/ 15 h 302"/>
                <a:gd name="T8" fmla="*/ 15 w 218"/>
                <a:gd name="T9" fmla="*/ 287 h 302"/>
                <a:gd name="T10" fmla="*/ 210 w 218"/>
                <a:gd name="T11" fmla="*/ 302 h 302"/>
                <a:gd name="T12" fmla="*/ 7 w 218"/>
                <a:gd name="T13" fmla="*/ 302 h 302"/>
                <a:gd name="T14" fmla="*/ 0 w 218"/>
                <a:gd name="T15" fmla="*/ 295 h 302"/>
                <a:gd name="T16" fmla="*/ 0 w 218"/>
                <a:gd name="T17" fmla="*/ 7 h 302"/>
                <a:gd name="T18" fmla="*/ 7 w 218"/>
                <a:gd name="T19" fmla="*/ 0 h 302"/>
                <a:gd name="T20" fmla="*/ 210 w 218"/>
                <a:gd name="T21" fmla="*/ 0 h 302"/>
                <a:gd name="T22" fmla="*/ 218 w 218"/>
                <a:gd name="T23" fmla="*/ 7 h 302"/>
                <a:gd name="T24" fmla="*/ 218 w 218"/>
                <a:gd name="T25" fmla="*/ 295 h 302"/>
                <a:gd name="T26" fmla="*/ 210 w 218"/>
                <a:gd name="T2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" h="302">
                  <a:moveTo>
                    <a:pt x="15" y="287"/>
                  </a:moveTo>
                  <a:lnTo>
                    <a:pt x="203" y="287"/>
                  </a:lnTo>
                  <a:lnTo>
                    <a:pt x="203" y="15"/>
                  </a:lnTo>
                  <a:lnTo>
                    <a:pt x="15" y="15"/>
                  </a:lnTo>
                  <a:lnTo>
                    <a:pt x="15" y="287"/>
                  </a:lnTo>
                  <a:close/>
                  <a:moveTo>
                    <a:pt x="210" y="302"/>
                  </a:moveTo>
                  <a:lnTo>
                    <a:pt x="7" y="302"/>
                  </a:lnTo>
                  <a:cubicBezTo>
                    <a:pt x="3" y="302"/>
                    <a:pt x="0" y="299"/>
                    <a:pt x="0" y="295"/>
                  </a:cubicBezTo>
                  <a:lnTo>
                    <a:pt x="0" y="7"/>
                  </a:lnTo>
                  <a:cubicBezTo>
                    <a:pt x="0" y="3"/>
                    <a:pt x="3" y="0"/>
                    <a:pt x="7" y="0"/>
                  </a:cubicBezTo>
                  <a:lnTo>
                    <a:pt x="210" y="0"/>
                  </a:lnTo>
                  <a:cubicBezTo>
                    <a:pt x="214" y="0"/>
                    <a:pt x="218" y="3"/>
                    <a:pt x="218" y="7"/>
                  </a:cubicBezTo>
                  <a:lnTo>
                    <a:pt x="218" y="295"/>
                  </a:lnTo>
                  <a:cubicBezTo>
                    <a:pt x="218" y="299"/>
                    <a:pt x="214" y="302"/>
                    <a:pt x="210" y="30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638">
              <a:extLst>
                <a:ext uri="{FF2B5EF4-FFF2-40B4-BE49-F238E27FC236}">
                  <a16:creationId xmlns:a16="http://schemas.microsoft.com/office/drawing/2014/main" id="{A1867056-1734-A2BB-B3A2-917A9F12D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751" y="4873625"/>
              <a:ext cx="142875" cy="12700"/>
            </a:xfrm>
            <a:custGeom>
              <a:avLst/>
              <a:gdLst>
                <a:gd name="T0" fmla="*/ 149 w 156"/>
                <a:gd name="T1" fmla="*/ 15 h 15"/>
                <a:gd name="T2" fmla="*/ 7 w 156"/>
                <a:gd name="T3" fmla="*/ 15 h 15"/>
                <a:gd name="T4" fmla="*/ 0 w 156"/>
                <a:gd name="T5" fmla="*/ 8 h 15"/>
                <a:gd name="T6" fmla="*/ 7 w 156"/>
                <a:gd name="T7" fmla="*/ 0 h 15"/>
                <a:gd name="T8" fmla="*/ 149 w 156"/>
                <a:gd name="T9" fmla="*/ 0 h 15"/>
                <a:gd name="T10" fmla="*/ 156 w 156"/>
                <a:gd name="T11" fmla="*/ 8 h 15"/>
                <a:gd name="T12" fmla="*/ 149 w 156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15">
                  <a:moveTo>
                    <a:pt x="149" y="15"/>
                  </a:moveTo>
                  <a:lnTo>
                    <a:pt x="7" y="15"/>
                  </a:lnTo>
                  <a:cubicBezTo>
                    <a:pt x="3" y="15"/>
                    <a:pt x="0" y="12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lnTo>
                    <a:pt x="149" y="0"/>
                  </a:lnTo>
                  <a:cubicBezTo>
                    <a:pt x="153" y="0"/>
                    <a:pt x="156" y="4"/>
                    <a:pt x="156" y="8"/>
                  </a:cubicBezTo>
                  <a:cubicBezTo>
                    <a:pt x="156" y="12"/>
                    <a:pt x="153" y="15"/>
                    <a:pt x="149" y="15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639">
              <a:extLst>
                <a:ext uri="{FF2B5EF4-FFF2-40B4-BE49-F238E27FC236}">
                  <a16:creationId xmlns:a16="http://schemas.microsoft.com/office/drawing/2014/main" id="{09750261-FEB1-A9A4-5737-B5BDC0E07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751" y="4905375"/>
              <a:ext cx="142875" cy="14288"/>
            </a:xfrm>
            <a:custGeom>
              <a:avLst/>
              <a:gdLst>
                <a:gd name="T0" fmla="*/ 149 w 156"/>
                <a:gd name="T1" fmla="*/ 15 h 15"/>
                <a:gd name="T2" fmla="*/ 7 w 156"/>
                <a:gd name="T3" fmla="*/ 15 h 15"/>
                <a:gd name="T4" fmla="*/ 0 w 156"/>
                <a:gd name="T5" fmla="*/ 7 h 15"/>
                <a:gd name="T6" fmla="*/ 7 w 156"/>
                <a:gd name="T7" fmla="*/ 0 h 15"/>
                <a:gd name="T8" fmla="*/ 149 w 156"/>
                <a:gd name="T9" fmla="*/ 0 h 15"/>
                <a:gd name="T10" fmla="*/ 156 w 156"/>
                <a:gd name="T11" fmla="*/ 7 h 15"/>
                <a:gd name="T12" fmla="*/ 149 w 156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15">
                  <a:moveTo>
                    <a:pt x="149" y="15"/>
                  </a:moveTo>
                  <a:lnTo>
                    <a:pt x="7" y="15"/>
                  </a:lnTo>
                  <a:cubicBezTo>
                    <a:pt x="3" y="15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49" y="0"/>
                  </a:lnTo>
                  <a:cubicBezTo>
                    <a:pt x="153" y="0"/>
                    <a:pt x="156" y="3"/>
                    <a:pt x="156" y="7"/>
                  </a:cubicBezTo>
                  <a:cubicBezTo>
                    <a:pt x="156" y="11"/>
                    <a:pt x="153" y="15"/>
                    <a:pt x="149" y="15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640">
              <a:extLst>
                <a:ext uri="{FF2B5EF4-FFF2-40B4-BE49-F238E27FC236}">
                  <a16:creationId xmlns:a16="http://schemas.microsoft.com/office/drawing/2014/main" id="{E278596E-6A69-1262-DFA2-4713B7A12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751" y="4938713"/>
              <a:ext cx="142875" cy="12700"/>
            </a:xfrm>
            <a:custGeom>
              <a:avLst/>
              <a:gdLst>
                <a:gd name="T0" fmla="*/ 149 w 156"/>
                <a:gd name="T1" fmla="*/ 14 h 14"/>
                <a:gd name="T2" fmla="*/ 7 w 156"/>
                <a:gd name="T3" fmla="*/ 14 h 14"/>
                <a:gd name="T4" fmla="*/ 0 w 156"/>
                <a:gd name="T5" fmla="*/ 7 h 14"/>
                <a:gd name="T6" fmla="*/ 7 w 156"/>
                <a:gd name="T7" fmla="*/ 0 h 14"/>
                <a:gd name="T8" fmla="*/ 149 w 156"/>
                <a:gd name="T9" fmla="*/ 0 h 14"/>
                <a:gd name="T10" fmla="*/ 156 w 156"/>
                <a:gd name="T11" fmla="*/ 7 h 14"/>
                <a:gd name="T12" fmla="*/ 149 w 156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14">
                  <a:moveTo>
                    <a:pt x="149" y="14"/>
                  </a:moveTo>
                  <a:lnTo>
                    <a:pt x="7" y="14"/>
                  </a:ln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49" y="0"/>
                  </a:lnTo>
                  <a:cubicBezTo>
                    <a:pt x="153" y="0"/>
                    <a:pt x="156" y="3"/>
                    <a:pt x="156" y="7"/>
                  </a:cubicBezTo>
                  <a:cubicBezTo>
                    <a:pt x="156" y="11"/>
                    <a:pt x="153" y="14"/>
                    <a:pt x="149" y="1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641">
              <a:extLst>
                <a:ext uri="{FF2B5EF4-FFF2-40B4-BE49-F238E27FC236}">
                  <a16:creationId xmlns:a16="http://schemas.microsoft.com/office/drawing/2014/main" id="{B30E1CE0-BC4A-28DB-2DA9-B514FFF29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0688" y="4786313"/>
              <a:ext cx="39688" cy="46038"/>
            </a:xfrm>
            <a:custGeom>
              <a:avLst/>
              <a:gdLst>
                <a:gd name="T0" fmla="*/ 15 w 44"/>
                <a:gd name="T1" fmla="*/ 37 h 51"/>
                <a:gd name="T2" fmla="*/ 18 w 44"/>
                <a:gd name="T3" fmla="*/ 37 h 51"/>
                <a:gd name="T4" fmla="*/ 29 w 44"/>
                <a:gd name="T5" fmla="*/ 26 h 51"/>
                <a:gd name="T6" fmla="*/ 18 w 44"/>
                <a:gd name="T7" fmla="*/ 15 h 51"/>
                <a:gd name="T8" fmla="*/ 15 w 44"/>
                <a:gd name="T9" fmla="*/ 15 h 51"/>
                <a:gd name="T10" fmla="*/ 15 w 44"/>
                <a:gd name="T11" fmla="*/ 37 h 51"/>
                <a:gd name="T12" fmla="*/ 18 w 44"/>
                <a:gd name="T13" fmla="*/ 51 h 51"/>
                <a:gd name="T14" fmla="*/ 7 w 44"/>
                <a:gd name="T15" fmla="*/ 51 h 51"/>
                <a:gd name="T16" fmla="*/ 0 w 44"/>
                <a:gd name="T17" fmla="*/ 44 h 51"/>
                <a:gd name="T18" fmla="*/ 0 w 44"/>
                <a:gd name="T19" fmla="*/ 7 h 51"/>
                <a:gd name="T20" fmla="*/ 7 w 44"/>
                <a:gd name="T21" fmla="*/ 0 h 51"/>
                <a:gd name="T22" fmla="*/ 18 w 44"/>
                <a:gd name="T23" fmla="*/ 0 h 51"/>
                <a:gd name="T24" fmla="*/ 44 w 44"/>
                <a:gd name="T25" fmla="*/ 26 h 51"/>
                <a:gd name="T26" fmla="*/ 18 w 44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51">
                  <a:moveTo>
                    <a:pt x="15" y="37"/>
                  </a:moveTo>
                  <a:lnTo>
                    <a:pt x="18" y="37"/>
                  </a:lnTo>
                  <a:cubicBezTo>
                    <a:pt x="24" y="37"/>
                    <a:pt x="29" y="32"/>
                    <a:pt x="29" y="26"/>
                  </a:cubicBezTo>
                  <a:cubicBezTo>
                    <a:pt x="29" y="20"/>
                    <a:pt x="24" y="15"/>
                    <a:pt x="18" y="15"/>
                  </a:cubicBezTo>
                  <a:lnTo>
                    <a:pt x="15" y="15"/>
                  </a:lnTo>
                  <a:lnTo>
                    <a:pt x="15" y="37"/>
                  </a:lnTo>
                  <a:close/>
                  <a:moveTo>
                    <a:pt x="18" y="51"/>
                  </a:moveTo>
                  <a:lnTo>
                    <a:pt x="7" y="51"/>
                  </a:lnTo>
                  <a:cubicBezTo>
                    <a:pt x="3" y="51"/>
                    <a:pt x="0" y="48"/>
                    <a:pt x="0" y="44"/>
                  </a:cubicBezTo>
                  <a:lnTo>
                    <a:pt x="0" y="7"/>
                  </a:lnTo>
                  <a:cubicBezTo>
                    <a:pt x="0" y="3"/>
                    <a:pt x="3" y="0"/>
                    <a:pt x="7" y="0"/>
                  </a:cubicBezTo>
                  <a:lnTo>
                    <a:pt x="18" y="0"/>
                  </a:lnTo>
                  <a:cubicBezTo>
                    <a:pt x="32" y="0"/>
                    <a:pt x="44" y="12"/>
                    <a:pt x="44" y="26"/>
                  </a:cubicBezTo>
                  <a:cubicBezTo>
                    <a:pt x="44" y="40"/>
                    <a:pt x="32" y="51"/>
                    <a:pt x="18" y="51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642">
              <a:extLst>
                <a:ext uri="{FF2B5EF4-FFF2-40B4-BE49-F238E27FC236}">
                  <a16:creationId xmlns:a16="http://schemas.microsoft.com/office/drawing/2014/main" id="{7CE6646E-C399-6B01-8665-30E0DCA46F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3551" y="4786313"/>
              <a:ext cx="39688" cy="46038"/>
            </a:xfrm>
            <a:custGeom>
              <a:avLst/>
              <a:gdLst>
                <a:gd name="T0" fmla="*/ 22 w 44"/>
                <a:gd name="T1" fmla="*/ 15 h 51"/>
                <a:gd name="T2" fmla="*/ 15 w 44"/>
                <a:gd name="T3" fmla="*/ 22 h 51"/>
                <a:gd name="T4" fmla="*/ 15 w 44"/>
                <a:gd name="T5" fmla="*/ 29 h 51"/>
                <a:gd name="T6" fmla="*/ 22 w 44"/>
                <a:gd name="T7" fmla="*/ 37 h 51"/>
                <a:gd name="T8" fmla="*/ 29 w 44"/>
                <a:gd name="T9" fmla="*/ 29 h 51"/>
                <a:gd name="T10" fmla="*/ 29 w 44"/>
                <a:gd name="T11" fmla="*/ 22 h 51"/>
                <a:gd name="T12" fmla="*/ 22 w 44"/>
                <a:gd name="T13" fmla="*/ 15 h 51"/>
                <a:gd name="T14" fmla="*/ 22 w 44"/>
                <a:gd name="T15" fmla="*/ 51 h 51"/>
                <a:gd name="T16" fmla="*/ 0 w 44"/>
                <a:gd name="T17" fmla="*/ 29 h 51"/>
                <a:gd name="T18" fmla="*/ 0 w 44"/>
                <a:gd name="T19" fmla="*/ 22 h 51"/>
                <a:gd name="T20" fmla="*/ 22 w 44"/>
                <a:gd name="T21" fmla="*/ 0 h 51"/>
                <a:gd name="T22" fmla="*/ 44 w 44"/>
                <a:gd name="T23" fmla="*/ 22 h 51"/>
                <a:gd name="T24" fmla="*/ 44 w 44"/>
                <a:gd name="T25" fmla="*/ 29 h 51"/>
                <a:gd name="T26" fmla="*/ 22 w 44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51">
                  <a:moveTo>
                    <a:pt x="22" y="15"/>
                  </a:moveTo>
                  <a:cubicBezTo>
                    <a:pt x="18" y="15"/>
                    <a:pt x="15" y="18"/>
                    <a:pt x="15" y="22"/>
                  </a:cubicBezTo>
                  <a:lnTo>
                    <a:pt x="15" y="29"/>
                  </a:lnTo>
                  <a:cubicBezTo>
                    <a:pt x="15" y="33"/>
                    <a:pt x="18" y="37"/>
                    <a:pt x="22" y="37"/>
                  </a:cubicBezTo>
                  <a:cubicBezTo>
                    <a:pt x="26" y="37"/>
                    <a:pt x="29" y="33"/>
                    <a:pt x="29" y="29"/>
                  </a:cubicBezTo>
                  <a:lnTo>
                    <a:pt x="29" y="22"/>
                  </a:lnTo>
                  <a:cubicBezTo>
                    <a:pt x="29" y="18"/>
                    <a:pt x="26" y="15"/>
                    <a:pt x="22" y="15"/>
                  </a:cubicBezTo>
                  <a:close/>
                  <a:moveTo>
                    <a:pt x="22" y="51"/>
                  </a:moveTo>
                  <a:cubicBezTo>
                    <a:pt x="10" y="51"/>
                    <a:pt x="0" y="41"/>
                    <a:pt x="0" y="29"/>
                  </a:cubicBezTo>
                  <a:lnTo>
                    <a:pt x="0" y="22"/>
                  </a:lnTo>
                  <a:cubicBezTo>
                    <a:pt x="0" y="10"/>
                    <a:pt x="10" y="0"/>
                    <a:pt x="22" y="0"/>
                  </a:cubicBezTo>
                  <a:cubicBezTo>
                    <a:pt x="34" y="0"/>
                    <a:pt x="44" y="10"/>
                    <a:pt x="44" y="22"/>
                  </a:cubicBezTo>
                  <a:lnTo>
                    <a:pt x="44" y="29"/>
                  </a:lnTo>
                  <a:cubicBezTo>
                    <a:pt x="44" y="41"/>
                    <a:pt x="34" y="51"/>
                    <a:pt x="22" y="51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643">
              <a:extLst>
                <a:ext uri="{FF2B5EF4-FFF2-40B4-BE49-F238E27FC236}">
                  <a16:creationId xmlns:a16="http://schemas.microsoft.com/office/drawing/2014/main" id="{56500D42-2031-7413-96B9-F9598ABDD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8001" y="4786313"/>
              <a:ext cx="38100" cy="46038"/>
            </a:xfrm>
            <a:custGeom>
              <a:avLst/>
              <a:gdLst>
                <a:gd name="T0" fmla="*/ 22 w 43"/>
                <a:gd name="T1" fmla="*/ 51 h 51"/>
                <a:gd name="T2" fmla="*/ 0 w 43"/>
                <a:gd name="T3" fmla="*/ 29 h 51"/>
                <a:gd name="T4" fmla="*/ 0 w 43"/>
                <a:gd name="T5" fmla="*/ 22 h 51"/>
                <a:gd name="T6" fmla="*/ 22 w 43"/>
                <a:gd name="T7" fmla="*/ 0 h 51"/>
                <a:gd name="T8" fmla="*/ 41 w 43"/>
                <a:gd name="T9" fmla="*/ 12 h 51"/>
                <a:gd name="T10" fmla="*/ 38 w 43"/>
                <a:gd name="T11" fmla="*/ 22 h 51"/>
                <a:gd name="T12" fmla="*/ 28 w 43"/>
                <a:gd name="T13" fmla="*/ 19 h 51"/>
                <a:gd name="T14" fmla="*/ 22 w 43"/>
                <a:gd name="T15" fmla="*/ 15 h 51"/>
                <a:gd name="T16" fmla="*/ 14 w 43"/>
                <a:gd name="T17" fmla="*/ 22 h 51"/>
                <a:gd name="T18" fmla="*/ 14 w 43"/>
                <a:gd name="T19" fmla="*/ 29 h 51"/>
                <a:gd name="T20" fmla="*/ 22 w 43"/>
                <a:gd name="T21" fmla="*/ 37 h 51"/>
                <a:gd name="T22" fmla="*/ 28 w 43"/>
                <a:gd name="T23" fmla="*/ 33 h 51"/>
                <a:gd name="T24" fmla="*/ 38 w 43"/>
                <a:gd name="T25" fmla="*/ 30 h 51"/>
                <a:gd name="T26" fmla="*/ 41 w 43"/>
                <a:gd name="T27" fmla="*/ 39 h 51"/>
                <a:gd name="T28" fmla="*/ 22 w 43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51">
                  <a:moveTo>
                    <a:pt x="22" y="51"/>
                  </a:moveTo>
                  <a:cubicBezTo>
                    <a:pt x="10" y="51"/>
                    <a:pt x="0" y="41"/>
                    <a:pt x="0" y="29"/>
                  </a:cubicBezTo>
                  <a:lnTo>
                    <a:pt x="0" y="22"/>
                  </a:lnTo>
                  <a:cubicBezTo>
                    <a:pt x="0" y="10"/>
                    <a:pt x="10" y="0"/>
                    <a:pt x="22" y="0"/>
                  </a:cubicBezTo>
                  <a:cubicBezTo>
                    <a:pt x="30" y="0"/>
                    <a:pt x="37" y="5"/>
                    <a:pt x="41" y="12"/>
                  </a:cubicBezTo>
                  <a:cubicBezTo>
                    <a:pt x="43" y="15"/>
                    <a:pt x="42" y="20"/>
                    <a:pt x="38" y="22"/>
                  </a:cubicBezTo>
                  <a:cubicBezTo>
                    <a:pt x="34" y="24"/>
                    <a:pt x="30" y="22"/>
                    <a:pt x="28" y="19"/>
                  </a:cubicBezTo>
                  <a:cubicBezTo>
                    <a:pt x="27" y="16"/>
                    <a:pt x="24" y="15"/>
                    <a:pt x="22" y="15"/>
                  </a:cubicBezTo>
                  <a:cubicBezTo>
                    <a:pt x="18" y="15"/>
                    <a:pt x="14" y="18"/>
                    <a:pt x="14" y="22"/>
                  </a:cubicBezTo>
                  <a:lnTo>
                    <a:pt x="14" y="29"/>
                  </a:lnTo>
                  <a:cubicBezTo>
                    <a:pt x="14" y="33"/>
                    <a:pt x="18" y="37"/>
                    <a:pt x="22" y="37"/>
                  </a:cubicBezTo>
                  <a:cubicBezTo>
                    <a:pt x="24" y="37"/>
                    <a:pt x="27" y="35"/>
                    <a:pt x="28" y="33"/>
                  </a:cubicBezTo>
                  <a:cubicBezTo>
                    <a:pt x="30" y="29"/>
                    <a:pt x="34" y="28"/>
                    <a:pt x="38" y="30"/>
                  </a:cubicBezTo>
                  <a:cubicBezTo>
                    <a:pt x="42" y="31"/>
                    <a:pt x="43" y="36"/>
                    <a:pt x="41" y="39"/>
                  </a:cubicBezTo>
                  <a:cubicBezTo>
                    <a:pt x="37" y="47"/>
                    <a:pt x="30" y="51"/>
                    <a:pt x="22" y="51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644">
              <a:extLst>
                <a:ext uri="{FF2B5EF4-FFF2-40B4-BE49-F238E27FC236}">
                  <a16:creationId xmlns:a16="http://schemas.microsoft.com/office/drawing/2014/main" id="{B189DBB5-288F-E083-BA4D-FD9969FD5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4627563"/>
              <a:ext cx="355600" cy="131763"/>
            </a:xfrm>
            <a:custGeom>
              <a:avLst/>
              <a:gdLst>
                <a:gd name="T0" fmla="*/ 382 w 391"/>
                <a:gd name="T1" fmla="*/ 144 h 144"/>
                <a:gd name="T2" fmla="*/ 376 w 391"/>
                <a:gd name="T3" fmla="*/ 141 h 144"/>
                <a:gd name="T4" fmla="*/ 208 w 391"/>
                <a:gd name="T5" fmla="*/ 26 h 144"/>
                <a:gd name="T6" fmla="*/ 13 w 391"/>
                <a:gd name="T7" fmla="*/ 85 h 144"/>
                <a:gd name="T8" fmla="*/ 3 w 391"/>
                <a:gd name="T9" fmla="*/ 85 h 144"/>
                <a:gd name="T10" fmla="*/ 3 w 391"/>
                <a:gd name="T11" fmla="*/ 74 h 144"/>
                <a:gd name="T12" fmla="*/ 210 w 391"/>
                <a:gd name="T13" fmla="*/ 12 h 144"/>
                <a:gd name="T14" fmla="*/ 389 w 391"/>
                <a:gd name="T15" fmla="*/ 133 h 144"/>
                <a:gd name="T16" fmla="*/ 386 w 391"/>
                <a:gd name="T17" fmla="*/ 143 h 144"/>
                <a:gd name="T18" fmla="*/ 382 w 391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144">
                  <a:moveTo>
                    <a:pt x="382" y="144"/>
                  </a:moveTo>
                  <a:cubicBezTo>
                    <a:pt x="380" y="144"/>
                    <a:pt x="377" y="143"/>
                    <a:pt x="376" y="141"/>
                  </a:cubicBezTo>
                  <a:cubicBezTo>
                    <a:pt x="340" y="79"/>
                    <a:pt x="279" y="37"/>
                    <a:pt x="208" y="26"/>
                  </a:cubicBezTo>
                  <a:cubicBezTo>
                    <a:pt x="136" y="15"/>
                    <a:pt x="65" y="37"/>
                    <a:pt x="13" y="85"/>
                  </a:cubicBezTo>
                  <a:cubicBezTo>
                    <a:pt x="10" y="88"/>
                    <a:pt x="6" y="88"/>
                    <a:pt x="3" y="85"/>
                  </a:cubicBezTo>
                  <a:cubicBezTo>
                    <a:pt x="0" y="82"/>
                    <a:pt x="0" y="77"/>
                    <a:pt x="3" y="74"/>
                  </a:cubicBezTo>
                  <a:cubicBezTo>
                    <a:pt x="59" y="23"/>
                    <a:pt x="134" y="0"/>
                    <a:pt x="210" y="12"/>
                  </a:cubicBezTo>
                  <a:cubicBezTo>
                    <a:pt x="285" y="23"/>
                    <a:pt x="350" y="67"/>
                    <a:pt x="389" y="133"/>
                  </a:cubicBezTo>
                  <a:cubicBezTo>
                    <a:pt x="391" y="137"/>
                    <a:pt x="389" y="141"/>
                    <a:pt x="386" y="143"/>
                  </a:cubicBezTo>
                  <a:cubicBezTo>
                    <a:pt x="385" y="144"/>
                    <a:pt x="384" y="144"/>
                    <a:pt x="382" y="144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645">
              <a:extLst>
                <a:ext uri="{FF2B5EF4-FFF2-40B4-BE49-F238E27FC236}">
                  <a16:creationId xmlns:a16="http://schemas.microsoft.com/office/drawing/2014/main" id="{45AC7515-8701-8EFD-A7D7-37A66232D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6063" y="4746625"/>
              <a:ext cx="196850" cy="339725"/>
            </a:xfrm>
            <a:custGeom>
              <a:avLst/>
              <a:gdLst>
                <a:gd name="T0" fmla="*/ 207 w 215"/>
                <a:gd name="T1" fmla="*/ 373 h 373"/>
                <a:gd name="T2" fmla="*/ 206 w 215"/>
                <a:gd name="T3" fmla="*/ 373 h 373"/>
                <a:gd name="T4" fmla="*/ 32 w 215"/>
                <a:gd name="T5" fmla="*/ 230 h 373"/>
                <a:gd name="T6" fmla="*/ 45 w 215"/>
                <a:gd name="T7" fmla="*/ 5 h 373"/>
                <a:gd name="T8" fmla="*/ 54 w 215"/>
                <a:gd name="T9" fmla="*/ 2 h 373"/>
                <a:gd name="T10" fmla="*/ 57 w 215"/>
                <a:gd name="T11" fmla="*/ 12 h 373"/>
                <a:gd name="T12" fmla="*/ 46 w 215"/>
                <a:gd name="T13" fmla="*/ 224 h 373"/>
                <a:gd name="T14" fmla="*/ 209 w 215"/>
                <a:gd name="T15" fmla="*/ 359 h 373"/>
                <a:gd name="T16" fmla="*/ 215 w 215"/>
                <a:gd name="T17" fmla="*/ 367 h 373"/>
                <a:gd name="T18" fmla="*/ 207 w 215"/>
                <a:gd name="T19" fmla="*/ 373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5" h="373">
                  <a:moveTo>
                    <a:pt x="207" y="373"/>
                  </a:moveTo>
                  <a:cubicBezTo>
                    <a:pt x="207" y="373"/>
                    <a:pt x="206" y="373"/>
                    <a:pt x="206" y="373"/>
                  </a:cubicBezTo>
                  <a:cubicBezTo>
                    <a:pt x="129" y="356"/>
                    <a:pt x="65" y="302"/>
                    <a:pt x="32" y="230"/>
                  </a:cubicBezTo>
                  <a:cubicBezTo>
                    <a:pt x="0" y="156"/>
                    <a:pt x="5" y="74"/>
                    <a:pt x="45" y="5"/>
                  </a:cubicBezTo>
                  <a:cubicBezTo>
                    <a:pt x="47" y="1"/>
                    <a:pt x="51" y="0"/>
                    <a:pt x="54" y="2"/>
                  </a:cubicBezTo>
                  <a:cubicBezTo>
                    <a:pt x="58" y="4"/>
                    <a:pt x="59" y="9"/>
                    <a:pt x="57" y="12"/>
                  </a:cubicBezTo>
                  <a:cubicBezTo>
                    <a:pt x="20" y="78"/>
                    <a:pt x="15" y="155"/>
                    <a:pt x="46" y="224"/>
                  </a:cubicBezTo>
                  <a:cubicBezTo>
                    <a:pt x="76" y="292"/>
                    <a:pt x="137" y="343"/>
                    <a:pt x="209" y="359"/>
                  </a:cubicBezTo>
                  <a:cubicBezTo>
                    <a:pt x="213" y="360"/>
                    <a:pt x="215" y="364"/>
                    <a:pt x="215" y="367"/>
                  </a:cubicBezTo>
                  <a:cubicBezTo>
                    <a:pt x="214" y="371"/>
                    <a:pt x="211" y="373"/>
                    <a:pt x="207" y="373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646">
              <a:extLst>
                <a:ext uri="{FF2B5EF4-FFF2-40B4-BE49-F238E27FC236}">
                  <a16:creationId xmlns:a16="http://schemas.microsoft.com/office/drawing/2014/main" id="{73A25960-4431-9E0C-5FE2-6908B75A0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9426" y="4805363"/>
              <a:ext cx="244475" cy="287338"/>
            </a:xfrm>
            <a:custGeom>
              <a:avLst/>
              <a:gdLst>
                <a:gd name="T0" fmla="*/ 7 w 268"/>
                <a:gd name="T1" fmla="*/ 314 h 314"/>
                <a:gd name="T2" fmla="*/ 0 w 268"/>
                <a:gd name="T3" fmla="*/ 307 h 314"/>
                <a:gd name="T4" fmla="*/ 7 w 268"/>
                <a:gd name="T5" fmla="*/ 299 h 314"/>
                <a:gd name="T6" fmla="*/ 191 w 268"/>
                <a:gd name="T7" fmla="*/ 210 h 314"/>
                <a:gd name="T8" fmla="*/ 236 w 268"/>
                <a:gd name="T9" fmla="*/ 10 h 314"/>
                <a:gd name="T10" fmla="*/ 241 w 268"/>
                <a:gd name="T11" fmla="*/ 1 h 314"/>
                <a:gd name="T12" fmla="*/ 250 w 268"/>
                <a:gd name="T13" fmla="*/ 7 h 314"/>
                <a:gd name="T14" fmla="*/ 203 w 268"/>
                <a:gd name="T15" fmla="*/ 219 h 314"/>
                <a:gd name="T16" fmla="*/ 7 w 268"/>
                <a:gd name="T17" fmla="*/ 314 h 314"/>
                <a:gd name="T18" fmla="*/ 7 w 268"/>
                <a:gd name="T19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8" h="314">
                  <a:moveTo>
                    <a:pt x="7" y="314"/>
                  </a:moveTo>
                  <a:cubicBezTo>
                    <a:pt x="3" y="314"/>
                    <a:pt x="0" y="311"/>
                    <a:pt x="0" y="307"/>
                  </a:cubicBezTo>
                  <a:cubicBezTo>
                    <a:pt x="0" y="303"/>
                    <a:pt x="3" y="299"/>
                    <a:pt x="7" y="299"/>
                  </a:cubicBezTo>
                  <a:cubicBezTo>
                    <a:pt x="80" y="299"/>
                    <a:pt x="147" y="267"/>
                    <a:pt x="191" y="210"/>
                  </a:cubicBezTo>
                  <a:cubicBezTo>
                    <a:pt x="236" y="153"/>
                    <a:pt x="253" y="80"/>
                    <a:pt x="236" y="10"/>
                  </a:cubicBezTo>
                  <a:cubicBezTo>
                    <a:pt x="235" y="6"/>
                    <a:pt x="237" y="2"/>
                    <a:pt x="241" y="1"/>
                  </a:cubicBezTo>
                  <a:cubicBezTo>
                    <a:pt x="245" y="0"/>
                    <a:pt x="249" y="3"/>
                    <a:pt x="250" y="7"/>
                  </a:cubicBezTo>
                  <a:cubicBezTo>
                    <a:pt x="268" y="81"/>
                    <a:pt x="251" y="158"/>
                    <a:pt x="203" y="219"/>
                  </a:cubicBezTo>
                  <a:cubicBezTo>
                    <a:pt x="156" y="279"/>
                    <a:pt x="84" y="314"/>
                    <a:pt x="7" y="314"/>
                  </a:cubicBezTo>
                  <a:lnTo>
                    <a:pt x="7" y="314"/>
                  </a:ln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647">
              <a:extLst>
                <a:ext uri="{FF2B5EF4-FFF2-40B4-BE49-F238E27FC236}">
                  <a16:creationId xmlns:a16="http://schemas.microsoft.com/office/drawing/2014/main" id="{E4C57EF3-6621-A0A8-CA7D-FF424418F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8651" y="4705350"/>
              <a:ext cx="63500" cy="53975"/>
            </a:xfrm>
            <a:custGeom>
              <a:avLst/>
              <a:gdLst>
                <a:gd name="T0" fmla="*/ 53 w 71"/>
                <a:gd name="T1" fmla="*/ 58 h 58"/>
                <a:gd name="T2" fmla="*/ 51 w 71"/>
                <a:gd name="T3" fmla="*/ 58 h 58"/>
                <a:gd name="T4" fmla="*/ 6 w 71"/>
                <a:gd name="T5" fmla="*/ 46 h 58"/>
                <a:gd name="T6" fmla="*/ 1 w 71"/>
                <a:gd name="T7" fmla="*/ 37 h 58"/>
                <a:gd name="T8" fmla="*/ 10 w 71"/>
                <a:gd name="T9" fmla="*/ 31 h 58"/>
                <a:gd name="T10" fmla="*/ 48 w 71"/>
                <a:gd name="T11" fmla="*/ 42 h 58"/>
                <a:gd name="T12" fmla="*/ 56 w 71"/>
                <a:gd name="T13" fmla="*/ 6 h 58"/>
                <a:gd name="T14" fmla="*/ 64 w 71"/>
                <a:gd name="T15" fmla="*/ 1 h 58"/>
                <a:gd name="T16" fmla="*/ 70 w 71"/>
                <a:gd name="T17" fmla="*/ 9 h 58"/>
                <a:gd name="T18" fmla="*/ 60 w 71"/>
                <a:gd name="T19" fmla="*/ 52 h 58"/>
                <a:gd name="T20" fmla="*/ 57 w 71"/>
                <a:gd name="T21" fmla="*/ 57 h 58"/>
                <a:gd name="T22" fmla="*/ 53 w 71"/>
                <a:gd name="T2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" h="58">
                  <a:moveTo>
                    <a:pt x="53" y="58"/>
                  </a:moveTo>
                  <a:cubicBezTo>
                    <a:pt x="53" y="58"/>
                    <a:pt x="52" y="58"/>
                    <a:pt x="51" y="58"/>
                  </a:cubicBezTo>
                  <a:lnTo>
                    <a:pt x="6" y="46"/>
                  </a:lnTo>
                  <a:cubicBezTo>
                    <a:pt x="3" y="44"/>
                    <a:pt x="0" y="40"/>
                    <a:pt x="1" y="37"/>
                  </a:cubicBezTo>
                  <a:cubicBezTo>
                    <a:pt x="2" y="33"/>
                    <a:pt x="7" y="30"/>
                    <a:pt x="10" y="31"/>
                  </a:cubicBezTo>
                  <a:lnTo>
                    <a:pt x="48" y="42"/>
                  </a:lnTo>
                  <a:lnTo>
                    <a:pt x="56" y="6"/>
                  </a:lnTo>
                  <a:cubicBezTo>
                    <a:pt x="56" y="2"/>
                    <a:pt x="60" y="0"/>
                    <a:pt x="64" y="1"/>
                  </a:cubicBezTo>
                  <a:cubicBezTo>
                    <a:pt x="68" y="2"/>
                    <a:pt x="71" y="6"/>
                    <a:pt x="70" y="9"/>
                  </a:cubicBezTo>
                  <a:lnTo>
                    <a:pt x="60" y="52"/>
                  </a:lnTo>
                  <a:cubicBezTo>
                    <a:pt x="60" y="54"/>
                    <a:pt x="59" y="56"/>
                    <a:pt x="57" y="57"/>
                  </a:cubicBezTo>
                  <a:cubicBezTo>
                    <a:pt x="56" y="58"/>
                    <a:pt x="55" y="58"/>
                    <a:pt x="53" y="58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648">
              <a:extLst>
                <a:ext uri="{FF2B5EF4-FFF2-40B4-BE49-F238E27FC236}">
                  <a16:creationId xmlns:a16="http://schemas.microsoft.com/office/drawing/2014/main" id="{7DD9EA71-B6C7-1AF9-1BDD-54EBC0D4F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9426" y="5049838"/>
              <a:ext cx="44450" cy="69850"/>
            </a:xfrm>
            <a:custGeom>
              <a:avLst/>
              <a:gdLst>
                <a:gd name="T0" fmla="*/ 39 w 49"/>
                <a:gd name="T1" fmla="*/ 77 h 77"/>
                <a:gd name="T2" fmla="*/ 34 w 49"/>
                <a:gd name="T3" fmla="*/ 75 h 77"/>
                <a:gd name="T4" fmla="*/ 2 w 49"/>
                <a:gd name="T5" fmla="*/ 45 h 77"/>
                <a:gd name="T6" fmla="*/ 0 w 49"/>
                <a:gd name="T7" fmla="*/ 40 h 77"/>
                <a:gd name="T8" fmla="*/ 2 w 49"/>
                <a:gd name="T9" fmla="*/ 34 h 77"/>
                <a:gd name="T10" fmla="*/ 36 w 49"/>
                <a:gd name="T11" fmla="*/ 2 h 77"/>
                <a:gd name="T12" fmla="*/ 46 w 49"/>
                <a:gd name="T13" fmla="*/ 3 h 77"/>
                <a:gd name="T14" fmla="*/ 46 w 49"/>
                <a:gd name="T15" fmla="*/ 13 h 77"/>
                <a:gd name="T16" fmla="*/ 18 w 49"/>
                <a:gd name="T17" fmla="*/ 40 h 77"/>
                <a:gd name="T18" fmla="*/ 44 w 49"/>
                <a:gd name="T19" fmla="*/ 65 h 77"/>
                <a:gd name="T20" fmla="*/ 45 w 49"/>
                <a:gd name="T21" fmla="*/ 75 h 77"/>
                <a:gd name="T22" fmla="*/ 39 w 49"/>
                <a:gd name="T2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9" h="77">
                  <a:moveTo>
                    <a:pt x="39" y="77"/>
                  </a:moveTo>
                  <a:cubicBezTo>
                    <a:pt x="38" y="77"/>
                    <a:pt x="36" y="77"/>
                    <a:pt x="34" y="75"/>
                  </a:cubicBezTo>
                  <a:lnTo>
                    <a:pt x="2" y="45"/>
                  </a:lnTo>
                  <a:cubicBezTo>
                    <a:pt x="1" y="44"/>
                    <a:pt x="0" y="42"/>
                    <a:pt x="0" y="40"/>
                  </a:cubicBezTo>
                  <a:cubicBezTo>
                    <a:pt x="0" y="38"/>
                    <a:pt x="1" y="36"/>
                    <a:pt x="2" y="34"/>
                  </a:cubicBezTo>
                  <a:lnTo>
                    <a:pt x="36" y="2"/>
                  </a:lnTo>
                  <a:cubicBezTo>
                    <a:pt x="39" y="0"/>
                    <a:pt x="43" y="0"/>
                    <a:pt x="46" y="3"/>
                  </a:cubicBezTo>
                  <a:cubicBezTo>
                    <a:pt x="49" y="6"/>
                    <a:pt x="49" y="10"/>
                    <a:pt x="46" y="13"/>
                  </a:cubicBezTo>
                  <a:lnTo>
                    <a:pt x="18" y="40"/>
                  </a:lnTo>
                  <a:lnTo>
                    <a:pt x="44" y="65"/>
                  </a:lnTo>
                  <a:cubicBezTo>
                    <a:pt x="47" y="67"/>
                    <a:pt x="47" y="72"/>
                    <a:pt x="45" y="75"/>
                  </a:cubicBezTo>
                  <a:cubicBezTo>
                    <a:pt x="43" y="76"/>
                    <a:pt x="41" y="77"/>
                    <a:pt x="39" y="77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649">
              <a:extLst>
                <a:ext uri="{FF2B5EF4-FFF2-40B4-BE49-F238E27FC236}">
                  <a16:creationId xmlns:a16="http://schemas.microsoft.com/office/drawing/2014/main" id="{0F3E19CA-5170-32AB-0363-414522067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51" y="4746625"/>
              <a:ext cx="63500" cy="55563"/>
            </a:xfrm>
            <a:custGeom>
              <a:avLst/>
              <a:gdLst>
                <a:gd name="T0" fmla="*/ 61 w 69"/>
                <a:gd name="T1" fmla="*/ 60 h 60"/>
                <a:gd name="T2" fmla="*/ 54 w 69"/>
                <a:gd name="T3" fmla="*/ 54 h 60"/>
                <a:gd name="T4" fmla="*/ 45 w 69"/>
                <a:gd name="T5" fmla="*/ 17 h 60"/>
                <a:gd name="T6" fmla="*/ 10 w 69"/>
                <a:gd name="T7" fmla="*/ 27 h 60"/>
                <a:gd name="T8" fmla="*/ 1 w 69"/>
                <a:gd name="T9" fmla="*/ 22 h 60"/>
                <a:gd name="T10" fmla="*/ 6 w 69"/>
                <a:gd name="T11" fmla="*/ 13 h 60"/>
                <a:gd name="T12" fmla="*/ 48 w 69"/>
                <a:gd name="T13" fmla="*/ 0 h 60"/>
                <a:gd name="T14" fmla="*/ 53 w 69"/>
                <a:gd name="T15" fmla="*/ 1 h 60"/>
                <a:gd name="T16" fmla="*/ 57 w 69"/>
                <a:gd name="T17" fmla="*/ 6 h 60"/>
                <a:gd name="T18" fmla="*/ 68 w 69"/>
                <a:gd name="T19" fmla="*/ 51 h 60"/>
                <a:gd name="T20" fmla="*/ 63 w 69"/>
                <a:gd name="T21" fmla="*/ 60 h 60"/>
                <a:gd name="T22" fmla="*/ 61 w 69"/>
                <a:gd name="T2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60">
                  <a:moveTo>
                    <a:pt x="61" y="60"/>
                  </a:moveTo>
                  <a:cubicBezTo>
                    <a:pt x="58" y="60"/>
                    <a:pt x="55" y="58"/>
                    <a:pt x="54" y="54"/>
                  </a:cubicBezTo>
                  <a:lnTo>
                    <a:pt x="45" y="17"/>
                  </a:lnTo>
                  <a:lnTo>
                    <a:pt x="10" y="27"/>
                  </a:lnTo>
                  <a:cubicBezTo>
                    <a:pt x="6" y="28"/>
                    <a:pt x="2" y="26"/>
                    <a:pt x="1" y="22"/>
                  </a:cubicBezTo>
                  <a:cubicBezTo>
                    <a:pt x="0" y="18"/>
                    <a:pt x="2" y="14"/>
                    <a:pt x="6" y="13"/>
                  </a:cubicBezTo>
                  <a:lnTo>
                    <a:pt x="48" y="0"/>
                  </a:lnTo>
                  <a:cubicBezTo>
                    <a:pt x="50" y="0"/>
                    <a:pt x="52" y="0"/>
                    <a:pt x="53" y="1"/>
                  </a:cubicBezTo>
                  <a:cubicBezTo>
                    <a:pt x="55" y="2"/>
                    <a:pt x="56" y="4"/>
                    <a:pt x="57" y="6"/>
                  </a:cubicBezTo>
                  <a:lnTo>
                    <a:pt x="68" y="51"/>
                  </a:lnTo>
                  <a:cubicBezTo>
                    <a:pt x="69" y="55"/>
                    <a:pt x="66" y="59"/>
                    <a:pt x="63" y="60"/>
                  </a:cubicBezTo>
                  <a:cubicBezTo>
                    <a:pt x="62" y="60"/>
                    <a:pt x="61" y="60"/>
                    <a:pt x="61" y="60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" name="Picture 1" descr="dang ppt cont bot.png">
            <a:extLst>
              <a:ext uri="{FF2B5EF4-FFF2-40B4-BE49-F238E27FC236}">
                <a16:creationId xmlns:a16="http://schemas.microsoft.com/office/drawing/2014/main" id="{1B8CFAA4-5D82-7DB5-988A-50243097C9E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67079"/>
            <a:ext cx="12192000" cy="690921"/>
          </a:xfrm>
          <a:prstGeom prst="rect">
            <a:avLst/>
          </a:prstGeom>
        </p:spPr>
      </p:pic>
      <p:pic>
        <p:nvPicPr>
          <p:cNvPr id="6" name="Picture 5" descr="dang ppt cont top 2.png">
            <a:extLst>
              <a:ext uri="{FF2B5EF4-FFF2-40B4-BE49-F238E27FC236}">
                <a16:creationId xmlns:a16="http://schemas.microsoft.com/office/drawing/2014/main" id="{AC88A236-857F-68E7-0A13-E216106AD66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8215" y="158993"/>
            <a:ext cx="990600" cy="114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193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2">
            <a:extLst>
              <a:ext uri="{FF2B5EF4-FFF2-40B4-BE49-F238E27FC236}">
                <a16:creationId xmlns:a16="http://schemas.microsoft.com/office/drawing/2014/main" id="{0C5554E2-31CA-163C-A4DA-08D0B6672770}"/>
              </a:ext>
            </a:extLst>
          </p:cNvPr>
          <p:cNvGrpSpPr/>
          <p:nvPr/>
        </p:nvGrpSpPr>
        <p:grpSpPr>
          <a:xfrm>
            <a:off x="8455596" y="1064652"/>
            <a:ext cx="2544874" cy="4728695"/>
            <a:chOff x="4006936" y="0"/>
            <a:chExt cx="4178128" cy="685800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A4ABA49-F622-193C-2706-2FAC712000E6}"/>
                </a:ext>
              </a:extLst>
            </p:cNvPr>
            <p:cNvSpPr/>
            <p:nvPr/>
          </p:nvSpPr>
          <p:spPr>
            <a:xfrm>
              <a:off x="4008153" y="2852093"/>
              <a:ext cx="3896318" cy="4005906"/>
            </a:xfrm>
            <a:custGeom>
              <a:avLst/>
              <a:gdLst>
                <a:gd name="connsiteX0" fmla="*/ 3892706 w 3896318"/>
                <a:gd name="connsiteY0" fmla="*/ 2603415 h 4005906"/>
                <a:gd name="connsiteX1" fmla="*/ 3867992 w 3896318"/>
                <a:gd name="connsiteY1" fmla="*/ 2455906 h 4005906"/>
                <a:gd name="connsiteX2" fmla="*/ 3691909 w 3896318"/>
                <a:gd name="connsiteY2" fmla="*/ 1576259 h 4005906"/>
                <a:gd name="connsiteX3" fmla="*/ 3691909 w 3896318"/>
                <a:gd name="connsiteY3" fmla="*/ 1576259 h 4005906"/>
                <a:gd name="connsiteX4" fmla="*/ 3691909 w 3896318"/>
                <a:gd name="connsiteY4" fmla="*/ 1576259 h 4005906"/>
                <a:gd name="connsiteX5" fmla="*/ 3565252 w 3896318"/>
                <a:gd name="connsiteY5" fmla="*/ 1236448 h 4005906"/>
                <a:gd name="connsiteX6" fmla="*/ 3510419 w 3896318"/>
                <a:gd name="connsiteY6" fmla="*/ 1057275 h 4005906"/>
                <a:gd name="connsiteX7" fmla="*/ 3494200 w 3896318"/>
                <a:gd name="connsiteY7" fmla="*/ 864973 h 4005906"/>
                <a:gd name="connsiteX8" fmla="*/ 3172925 w 3896318"/>
                <a:gd name="connsiteY8" fmla="*/ 456428 h 4005906"/>
                <a:gd name="connsiteX9" fmla="*/ 2636178 w 3896318"/>
                <a:gd name="connsiteY9" fmla="*/ 185351 h 4005906"/>
                <a:gd name="connsiteX10" fmla="*/ 2386726 w 3896318"/>
                <a:gd name="connsiteY10" fmla="*/ 919034 h 4005906"/>
                <a:gd name="connsiteX11" fmla="*/ 1429077 w 3896318"/>
                <a:gd name="connsiteY11" fmla="*/ 0 h 4005906"/>
                <a:gd name="connsiteX12" fmla="*/ 753317 w 3896318"/>
                <a:gd name="connsiteY12" fmla="*/ 384604 h 4005906"/>
                <a:gd name="connsiteX13" fmla="*/ 503865 w 3896318"/>
                <a:gd name="connsiteY13" fmla="*/ 601620 h 4005906"/>
                <a:gd name="connsiteX14" fmla="*/ 143203 w 3896318"/>
                <a:gd name="connsiteY14" fmla="*/ 1220230 h 4005906"/>
                <a:gd name="connsiteX15" fmla="*/ 5734 w 3896318"/>
                <a:gd name="connsiteY15" fmla="*/ 2459767 h 4005906"/>
                <a:gd name="connsiteX16" fmla="*/ 22724 w 3896318"/>
                <a:gd name="connsiteY16" fmla="*/ 2703041 h 4005906"/>
                <a:gd name="connsiteX17" fmla="*/ 97637 w 3896318"/>
                <a:gd name="connsiteY17" fmla="*/ 2921601 h 4005906"/>
                <a:gd name="connsiteX18" fmla="*/ 209620 w 3896318"/>
                <a:gd name="connsiteY18" fmla="*/ 3241332 h 4005906"/>
                <a:gd name="connsiteX19" fmla="*/ 384159 w 3896318"/>
                <a:gd name="connsiteY19" fmla="*/ 3588866 h 4005906"/>
                <a:gd name="connsiteX20" fmla="*/ 428180 w 3896318"/>
                <a:gd name="connsiteY20" fmla="*/ 3693898 h 4005906"/>
                <a:gd name="connsiteX21" fmla="*/ 413507 w 3896318"/>
                <a:gd name="connsiteY21" fmla="*/ 4005906 h 4005906"/>
                <a:gd name="connsiteX22" fmla="*/ 3479527 w 3896318"/>
                <a:gd name="connsiteY22" fmla="*/ 4005906 h 4005906"/>
                <a:gd name="connsiteX23" fmla="*/ 3535904 w 3896318"/>
                <a:gd name="connsiteY23" fmla="*/ 3681541 h 4005906"/>
                <a:gd name="connsiteX24" fmla="*/ 3810070 w 3896318"/>
                <a:gd name="connsiteY24" fmla="*/ 3134755 h 4005906"/>
                <a:gd name="connsiteX25" fmla="*/ 3867220 w 3896318"/>
                <a:gd name="connsiteY25" fmla="*/ 3180320 h 4005906"/>
                <a:gd name="connsiteX26" fmla="*/ 3872626 w 3896318"/>
                <a:gd name="connsiteY26" fmla="*/ 3164874 h 4005906"/>
                <a:gd name="connsiteX27" fmla="*/ 3892706 w 3896318"/>
                <a:gd name="connsiteY27" fmla="*/ 2603415 h 40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96318" h="4005906">
                  <a:moveTo>
                    <a:pt x="3892706" y="2603415"/>
                  </a:moveTo>
                  <a:cubicBezTo>
                    <a:pt x="3889616" y="2553215"/>
                    <a:pt x="3883438" y="2503788"/>
                    <a:pt x="3867992" y="2455906"/>
                  </a:cubicBezTo>
                  <a:cubicBezTo>
                    <a:pt x="3844051" y="2379448"/>
                    <a:pt x="3701176" y="1601745"/>
                    <a:pt x="3691909" y="1576259"/>
                  </a:cubicBezTo>
                  <a:lnTo>
                    <a:pt x="3691909" y="1576259"/>
                  </a:lnTo>
                  <a:lnTo>
                    <a:pt x="3691909" y="1576259"/>
                  </a:lnTo>
                  <a:cubicBezTo>
                    <a:pt x="3649432" y="1462731"/>
                    <a:pt x="3606956" y="1349976"/>
                    <a:pt x="3565252" y="1236448"/>
                  </a:cubicBezTo>
                  <a:cubicBezTo>
                    <a:pt x="3543627" y="1177753"/>
                    <a:pt x="3510419" y="1122921"/>
                    <a:pt x="3510419" y="1057275"/>
                  </a:cubicBezTo>
                  <a:cubicBezTo>
                    <a:pt x="3510419" y="992402"/>
                    <a:pt x="3500379" y="929074"/>
                    <a:pt x="3494200" y="864973"/>
                  </a:cubicBezTo>
                  <a:cubicBezTo>
                    <a:pt x="3473348" y="661087"/>
                    <a:pt x="3345919" y="541380"/>
                    <a:pt x="3172925" y="456428"/>
                  </a:cubicBezTo>
                  <a:cubicBezTo>
                    <a:pt x="2997613" y="374564"/>
                    <a:pt x="2749706" y="242502"/>
                    <a:pt x="2636178" y="185351"/>
                  </a:cubicBezTo>
                  <a:cubicBezTo>
                    <a:pt x="2623049" y="178401"/>
                    <a:pt x="2404489" y="912856"/>
                    <a:pt x="2386726" y="919034"/>
                  </a:cubicBezTo>
                  <a:cubicBezTo>
                    <a:pt x="2325715" y="871152"/>
                    <a:pt x="1444523" y="3861"/>
                    <a:pt x="1429077" y="0"/>
                  </a:cubicBezTo>
                  <a:cubicBezTo>
                    <a:pt x="1400502" y="16218"/>
                    <a:pt x="847538" y="312008"/>
                    <a:pt x="753317" y="384604"/>
                  </a:cubicBezTo>
                  <a:cubicBezTo>
                    <a:pt x="666048" y="451794"/>
                    <a:pt x="584957" y="526707"/>
                    <a:pt x="503865" y="601620"/>
                  </a:cubicBezTo>
                  <a:cubicBezTo>
                    <a:pt x="319286" y="770753"/>
                    <a:pt x="199580" y="976184"/>
                    <a:pt x="143203" y="1220230"/>
                  </a:cubicBezTo>
                  <a:cubicBezTo>
                    <a:pt x="81419" y="1486672"/>
                    <a:pt x="13457" y="2316120"/>
                    <a:pt x="5734" y="2459767"/>
                  </a:cubicBezTo>
                  <a:cubicBezTo>
                    <a:pt x="1872" y="2540858"/>
                    <a:pt x="-11257" y="2622722"/>
                    <a:pt x="22724" y="2703041"/>
                  </a:cubicBezTo>
                  <a:cubicBezTo>
                    <a:pt x="52844" y="2774092"/>
                    <a:pt x="71379" y="2849005"/>
                    <a:pt x="97637" y="2921601"/>
                  </a:cubicBezTo>
                  <a:cubicBezTo>
                    <a:pt x="135480" y="3028178"/>
                    <a:pt x="161738" y="3138617"/>
                    <a:pt x="209620" y="3241332"/>
                  </a:cubicBezTo>
                  <a:cubicBezTo>
                    <a:pt x="264453" y="3358721"/>
                    <a:pt x="327009" y="3472249"/>
                    <a:pt x="384159" y="3588866"/>
                  </a:cubicBezTo>
                  <a:cubicBezTo>
                    <a:pt x="401150" y="3622847"/>
                    <a:pt x="430497" y="3655283"/>
                    <a:pt x="428180" y="3693898"/>
                  </a:cubicBezTo>
                  <a:cubicBezTo>
                    <a:pt x="422774" y="3798158"/>
                    <a:pt x="425863" y="3902418"/>
                    <a:pt x="413507" y="4005906"/>
                  </a:cubicBezTo>
                  <a:cubicBezTo>
                    <a:pt x="856805" y="4005906"/>
                    <a:pt x="3209995" y="4005906"/>
                    <a:pt x="3479527" y="4005906"/>
                  </a:cubicBezTo>
                  <a:cubicBezTo>
                    <a:pt x="3454813" y="3890062"/>
                    <a:pt x="3487250" y="3783485"/>
                    <a:pt x="3535904" y="3681541"/>
                  </a:cubicBezTo>
                  <a:cubicBezTo>
                    <a:pt x="3623174" y="3498507"/>
                    <a:pt x="3729751" y="3324740"/>
                    <a:pt x="3810070" y="3134755"/>
                  </a:cubicBezTo>
                  <a:cubicBezTo>
                    <a:pt x="3828605" y="3149428"/>
                    <a:pt x="3847140" y="3164102"/>
                    <a:pt x="3867220" y="3180320"/>
                  </a:cubicBezTo>
                  <a:cubicBezTo>
                    <a:pt x="3870309" y="3171825"/>
                    <a:pt x="3871854" y="3168736"/>
                    <a:pt x="3872626" y="3164874"/>
                  </a:cubicBezTo>
                  <a:cubicBezTo>
                    <a:pt x="3888072" y="2977979"/>
                    <a:pt x="3903518" y="2791083"/>
                    <a:pt x="3892706" y="2603415"/>
                  </a:cubicBezTo>
                  <a:close/>
                </a:path>
              </a:pathLst>
            </a:custGeom>
            <a:solidFill>
              <a:srgbClr val="000000"/>
            </a:solidFill>
            <a:ln w="7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98D9E1D-F0BF-4019-9529-77A3547CDB8F}"/>
                </a:ext>
              </a:extLst>
            </p:cNvPr>
            <p:cNvSpPr/>
            <p:nvPr/>
          </p:nvSpPr>
          <p:spPr>
            <a:xfrm>
              <a:off x="7060029" y="4059397"/>
              <a:ext cx="1127921" cy="1950064"/>
            </a:xfrm>
            <a:custGeom>
              <a:avLst/>
              <a:gdLst>
                <a:gd name="connsiteX0" fmla="*/ 218358 w 1127921"/>
                <a:gd name="connsiteY0" fmla="*/ 1947531 h 1950064"/>
                <a:gd name="connsiteX1" fmla="*/ 15243 w 1127921"/>
                <a:gd name="connsiteY1" fmla="*/ 1848677 h 1950064"/>
                <a:gd name="connsiteX2" fmla="*/ 2887 w 1127921"/>
                <a:gd name="connsiteY2" fmla="*/ 1812379 h 1950064"/>
                <a:gd name="connsiteX3" fmla="*/ 872493 w 1127921"/>
                <a:gd name="connsiteY3" fmla="*/ 15243 h 1950064"/>
                <a:gd name="connsiteX4" fmla="*/ 908791 w 1127921"/>
                <a:gd name="connsiteY4" fmla="*/ 2887 h 1950064"/>
                <a:gd name="connsiteX5" fmla="*/ 1112678 w 1127921"/>
                <a:gd name="connsiteY5" fmla="*/ 101741 h 1950064"/>
                <a:gd name="connsiteX6" fmla="*/ 1125035 w 1127921"/>
                <a:gd name="connsiteY6" fmla="*/ 138039 h 1950064"/>
                <a:gd name="connsiteX7" fmla="*/ 254656 w 1127921"/>
                <a:gd name="connsiteY7" fmla="*/ 1934402 h 1950064"/>
                <a:gd name="connsiteX8" fmla="*/ 218358 w 1127921"/>
                <a:gd name="connsiteY8" fmla="*/ 1947531 h 195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7921" h="1950064">
                  <a:moveTo>
                    <a:pt x="218358" y="1947531"/>
                  </a:moveTo>
                  <a:lnTo>
                    <a:pt x="15243" y="1848677"/>
                  </a:lnTo>
                  <a:cubicBezTo>
                    <a:pt x="2114" y="1842499"/>
                    <a:pt x="-4064" y="1826281"/>
                    <a:pt x="2887" y="1812379"/>
                  </a:cubicBezTo>
                  <a:lnTo>
                    <a:pt x="872493" y="15243"/>
                  </a:lnTo>
                  <a:cubicBezTo>
                    <a:pt x="878672" y="2115"/>
                    <a:pt x="894890" y="-4064"/>
                    <a:pt x="908791" y="2887"/>
                  </a:cubicBezTo>
                  <a:lnTo>
                    <a:pt x="1112678" y="101741"/>
                  </a:lnTo>
                  <a:cubicBezTo>
                    <a:pt x="1125807" y="107919"/>
                    <a:pt x="1131985" y="124138"/>
                    <a:pt x="1125035" y="138039"/>
                  </a:cubicBezTo>
                  <a:lnTo>
                    <a:pt x="254656" y="1934402"/>
                  </a:lnTo>
                  <a:cubicBezTo>
                    <a:pt x="248477" y="1948304"/>
                    <a:pt x="232259" y="1953710"/>
                    <a:pt x="218358" y="1947531"/>
                  </a:cubicBezTo>
                  <a:close/>
                </a:path>
              </a:pathLst>
            </a:custGeom>
            <a:solidFill>
              <a:srgbClr val="00FFFF"/>
            </a:solidFill>
            <a:ln w="7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EB5DAB0-520A-1337-6B5F-C1A802008865}"/>
                </a:ext>
              </a:extLst>
            </p:cNvPr>
            <p:cNvSpPr/>
            <p:nvPr/>
          </p:nvSpPr>
          <p:spPr>
            <a:xfrm>
              <a:off x="4856303" y="1286225"/>
              <a:ext cx="1911040" cy="4367762"/>
            </a:xfrm>
            <a:custGeom>
              <a:avLst/>
              <a:gdLst>
                <a:gd name="connsiteX0" fmla="*/ 1542437 w 1911040"/>
                <a:gd name="connsiteY0" fmla="*/ 2524289 h 4367762"/>
                <a:gd name="connsiteX1" fmla="*/ 1666776 w 1911040"/>
                <a:gd name="connsiteY1" fmla="*/ 2984579 h 4367762"/>
                <a:gd name="connsiteX2" fmla="*/ 1835137 w 1911040"/>
                <a:gd name="connsiteY2" fmla="*/ 3581564 h 4367762"/>
                <a:gd name="connsiteX3" fmla="*/ 1842860 w 1911040"/>
                <a:gd name="connsiteY3" fmla="*/ 3741430 h 4367762"/>
                <a:gd name="connsiteX4" fmla="*/ 1893060 w 1911040"/>
                <a:gd name="connsiteY4" fmla="*/ 3924464 h 4367762"/>
                <a:gd name="connsiteX5" fmla="*/ 1881475 w 1911040"/>
                <a:gd name="connsiteY5" fmla="*/ 4138391 h 4367762"/>
                <a:gd name="connsiteX6" fmla="*/ 1713114 w 1911040"/>
                <a:gd name="connsiteY6" fmla="*/ 4367763 h 4367762"/>
                <a:gd name="connsiteX7" fmla="*/ 1741689 w 1911040"/>
                <a:gd name="connsiteY7" fmla="*/ 4020229 h 4367762"/>
                <a:gd name="connsiteX8" fmla="*/ 1556338 w 1911040"/>
                <a:gd name="connsiteY8" fmla="*/ 3888938 h 4367762"/>
                <a:gd name="connsiteX9" fmla="*/ 1364036 w 1911040"/>
                <a:gd name="connsiteY9" fmla="*/ 3684280 h 4367762"/>
                <a:gd name="connsiteX10" fmla="*/ 1169417 w 1911040"/>
                <a:gd name="connsiteY10" fmla="*/ 3468036 h 4367762"/>
                <a:gd name="connsiteX11" fmla="*/ 875944 w 1911040"/>
                <a:gd name="connsiteY11" fmla="*/ 2797682 h 4367762"/>
                <a:gd name="connsiteX12" fmla="*/ 695999 w 1911040"/>
                <a:gd name="connsiteY12" fmla="*/ 2206103 h 4367762"/>
                <a:gd name="connsiteX13" fmla="*/ 607185 w 1911040"/>
                <a:gd name="connsiteY13" fmla="*/ 2080218 h 4367762"/>
                <a:gd name="connsiteX14" fmla="*/ 351554 w 1911040"/>
                <a:gd name="connsiteY14" fmla="*/ 1823043 h 4367762"/>
                <a:gd name="connsiteX15" fmla="*/ 293632 w 1911040"/>
                <a:gd name="connsiteY15" fmla="*/ 1714149 h 4367762"/>
                <a:gd name="connsiteX16" fmla="*/ 283592 w 1911040"/>
                <a:gd name="connsiteY16" fmla="*/ 1650821 h 4367762"/>
                <a:gd name="connsiteX17" fmla="*/ 242660 w 1911040"/>
                <a:gd name="connsiteY17" fmla="*/ 1548105 h 4367762"/>
                <a:gd name="connsiteX18" fmla="*/ 46497 w 1911040"/>
                <a:gd name="connsiteY18" fmla="*/ 1270078 h 4367762"/>
                <a:gd name="connsiteX19" fmla="*/ 14060 w 1911040"/>
                <a:gd name="connsiteY19" fmla="*/ 931812 h 4367762"/>
                <a:gd name="connsiteX20" fmla="*/ 78933 w 1911040"/>
                <a:gd name="connsiteY20" fmla="*/ 702440 h 4367762"/>
                <a:gd name="connsiteX21" fmla="*/ 191689 w 1911040"/>
                <a:gd name="connsiteY21" fmla="*/ 427502 h 4367762"/>
                <a:gd name="connsiteX22" fmla="*/ 315256 w 1911040"/>
                <a:gd name="connsiteY22" fmla="*/ 135574 h 4367762"/>
                <a:gd name="connsiteX23" fmla="*/ 347693 w 1911040"/>
                <a:gd name="connsiteY23" fmla="*/ 83057 h 4367762"/>
                <a:gd name="connsiteX24" fmla="*/ 418744 w 1911040"/>
                <a:gd name="connsiteY24" fmla="*/ 14323 h 4367762"/>
                <a:gd name="connsiteX25" fmla="*/ 455042 w 1911040"/>
                <a:gd name="connsiteY25" fmla="*/ 5055 h 4367762"/>
                <a:gd name="connsiteX26" fmla="*/ 448091 w 1911040"/>
                <a:gd name="connsiteY26" fmla="*/ 110860 h 4367762"/>
                <a:gd name="connsiteX27" fmla="*/ 396348 w 1911040"/>
                <a:gd name="connsiteY27" fmla="*/ 391204 h 4367762"/>
                <a:gd name="connsiteX28" fmla="*/ 390169 w 1911040"/>
                <a:gd name="connsiteY28" fmla="*/ 690855 h 4367762"/>
                <a:gd name="connsiteX29" fmla="*/ 404070 w 1911040"/>
                <a:gd name="connsiteY29" fmla="*/ 844543 h 4367762"/>
                <a:gd name="connsiteX30" fmla="*/ 604868 w 1911040"/>
                <a:gd name="connsiteY30" fmla="*/ 1227602 h 4367762"/>
                <a:gd name="connsiteX31" fmla="*/ 629581 w 1911040"/>
                <a:gd name="connsiteY31" fmla="*/ 1252316 h 4367762"/>
                <a:gd name="connsiteX32" fmla="*/ 838874 w 1911040"/>
                <a:gd name="connsiteY32" fmla="*/ 1582086 h 4367762"/>
                <a:gd name="connsiteX33" fmla="*/ 939273 w 1911040"/>
                <a:gd name="connsiteY33" fmla="*/ 1721100 h 4367762"/>
                <a:gd name="connsiteX34" fmla="*/ 1143931 w 1911040"/>
                <a:gd name="connsiteY34" fmla="*/ 1914174 h 4367762"/>
                <a:gd name="connsiteX35" fmla="*/ 1242785 w 1911040"/>
                <a:gd name="connsiteY35" fmla="*/ 2065545 h 4367762"/>
                <a:gd name="connsiteX36" fmla="*/ 1414235 w 1911040"/>
                <a:gd name="connsiteY36" fmla="*/ 2357473 h 4367762"/>
                <a:gd name="connsiteX37" fmla="*/ 1542437 w 1911040"/>
                <a:gd name="connsiteY37" fmla="*/ 2524289 h 4367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911040" h="4367762">
                  <a:moveTo>
                    <a:pt x="1542437" y="2524289"/>
                  </a:moveTo>
                  <a:cubicBezTo>
                    <a:pt x="1609626" y="2681066"/>
                    <a:pt x="1605765" y="2824713"/>
                    <a:pt x="1666776" y="2984579"/>
                  </a:cubicBezTo>
                  <a:cubicBezTo>
                    <a:pt x="1727016" y="3142899"/>
                    <a:pt x="1928585" y="3240209"/>
                    <a:pt x="1835137" y="3581564"/>
                  </a:cubicBezTo>
                  <a:cubicBezTo>
                    <a:pt x="1811196" y="3659567"/>
                    <a:pt x="1797295" y="3693547"/>
                    <a:pt x="1842860" y="3741430"/>
                  </a:cubicBezTo>
                  <a:cubicBezTo>
                    <a:pt x="1898466" y="3800124"/>
                    <a:pt x="1838226" y="3864997"/>
                    <a:pt x="1893060" y="3924464"/>
                  </a:cubicBezTo>
                  <a:cubicBezTo>
                    <a:pt x="1922407" y="3955356"/>
                    <a:pt x="1913912" y="4076607"/>
                    <a:pt x="1881475" y="4138391"/>
                  </a:cubicBezTo>
                  <a:cubicBezTo>
                    <a:pt x="1866802" y="4182411"/>
                    <a:pt x="1723154" y="4252691"/>
                    <a:pt x="1713114" y="4367763"/>
                  </a:cubicBezTo>
                  <a:cubicBezTo>
                    <a:pt x="1643607" y="4236472"/>
                    <a:pt x="1754046" y="4112905"/>
                    <a:pt x="1741689" y="4020229"/>
                  </a:cubicBezTo>
                  <a:cubicBezTo>
                    <a:pt x="1731650" y="3953040"/>
                    <a:pt x="1596498" y="3939138"/>
                    <a:pt x="1556338" y="3888938"/>
                  </a:cubicBezTo>
                  <a:cubicBezTo>
                    <a:pt x="1489148" y="3804758"/>
                    <a:pt x="1457484" y="3730618"/>
                    <a:pt x="1364036" y="3684280"/>
                  </a:cubicBezTo>
                  <a:cubicBezTo>
                    <a:pt x="1268271" y="3635625"/>
                    <a:pt x="1212666" y="3563801"/>
                    <a:pt x="1169417" y="3468036"/>
                  </a:cubicBezTo>
                  <a:cubicBezTo>
                    <a:pt x="1069018" y="3245615"/>
                    <a:pt x="963986" y="3025510"/>
                    <a:pt x="875944" y="2797682"/>
                  </a:cubicBezTo>
                  <a:cubicBezTo>
                    <a:pt x="801804" y="2605380"/>
                    <a:pt x="729980" y="2411534"/>
                    <a:pt x="695999" y="2206103"/>
                  </a:cubicBezTo>
                  <a:cubicBezTo>
                    <a:pt x="686731" y="2150497"/>
                    <a:pt x="649661" y="2112655"/>
                    <a:pt x="607185" y="2080218"/>
                  </a:cubicBezTo>
                  <a:cubicBezTo>
                    <a:pt x="510648" y="2006078"/>
                    <a:pt x="410249" y="1935799"/>
                    <a:pt x="351554" y="1823043"/>
                  </a:cubicBezTo>
                  <a:cubicBezTo>
                    <a:pt x="332247" y="1786745"/>
                    <a:pt x="312939" y="1750447"/>
                    <a:pt x="293632" y="1714149"/>
                  </a:cubicBezTo>
                  <a:cubicBezTo>
                    <a:pt x="278186" y="1694842"/>
                    <a:pt x="282820" y="1671673"/>
                    <a:pt x="283592" y="1650821"/>
                  </a:cubicBezTo>
                  <a:cubicBezTo>
                    <a:pt x="285137" y="1609889"/>
                    <a:pt x="267374" y="1578997"/>
                    <a:pt x="242660" y="1548105"/>
                  </a:cubicBezTo>
                  <a:cubicBezTo>
                    <a:pt x="171609" y="1459291"/>
                    <a:pt x="97468" y="1373566"/>
                    <a:pt x="46497" y="1270078"/>
                  </a:cubicBezTo>
                  <a:cubicBezTo>
                    <a:pt x="-8336" y="1160412"/>
                    <a:pt x="-8336" y="1047657"/>
                    <a:pt x="14060" y="931812"/>
                  </a:cubicBezTo>
                  <a:cubicBezTo>
                    <a:pt x="28734" y="853038"/>
                    <a:pt x="49586" y="776580"/>
                    <a:pt x="78933" y="702440"/>
                  </a:cubicBezTo>
                  <a:cubicBezTo>
                    <a:pt x="115231" y="610537"/>
                    <a:pt x="152302" y="518633"/>
                    <a:pt x="191689" y="427502"/>
                  </a:cubicBezTo>
                  <a:cubicBezTo>
                    <a:pt x="233393" y="330193"/>
                    <a:pt x="277414" y="234428"/>
                    <a:pt x="315256" y="135574"/>
                  </a:cubicBezTo>
                  <a:cubicBezTo>
                    <a:pt x="317573" y="130168"/>
                    <a:pt x="336881" y="93097"/>
                    <a:pt x="347693" y="83057"/>
                  </a:cubicBezTo>
                  <a:cubicBezTo>
                    <a:pt x="370862" y="59889"/>
                    <a:pt x="392486" y="35175"/>
                    <a:pt x="418744" y="14323"/>
                  </a:cubicBezTo>
                  <a:cubicBezTo>
                    <a:pt x="428784" y="5828"/>
                    <a:pt x="438824" y="-7301"/>
                    <a:pt x="455042" y="5055"/>
                  </a:cubicBezTo>
                  <a:cubicBezTo>
                    <a:pt x="468943" y="41353"/>
                    <a:pt x="455042" y="76879"/>
                    <a:pt x="448091" y="110860"/>
                  </a:cubicBezTo>
                  <a:cubicBezTo>
                    <a:pt x="428784" y="204308"/>
                    <a:pt x="404070" y="296211"/>
                    <a:pt x="396348" y="391204"/>
                  </a:cubicBezTo>
                  <a:cubicBezTo>
                    <a:pt x="388625" y="490830"/>
                    <a:pt x="377812" y="590457"/>
                    <a:pt x="390169" y="690855"/>
                  </a:cubicBezTo>
                  <a:cubicBezTo>
                    <a:pt x="396348" y="741827"/>
                    <a:pt x="397120" y="793571"/>
                    <a:pt x="404070" y="844543"/>
                  </a:cubicBezTo>
                  <a:cubicBezTo>
                    <a:pt x="425695" y="995913"/>
                    <a:pt x="501380" y="1119480"/>
                    <a:pt x="604868" y="1227602"/>
                  </a:cubicBezTo>
                  <a:cubicBezTo>
                    <a:pt x="612591" y="1236097"/>
                    <a:pt x="620314" y="1244593"/>
                    <a:pt x="629581" y="1252316"/>
                  </a:cubicBezTo>
                  <a:cubicBezTo>
                    <a:pt x="733841" y="1340358"/>
                    <a:pt x="803348" y="1450024"/>
                    <a:pt x="838874" y="1582086"/>
                  </a:cubicBezTo>
                  <a:cubicBezTo>
                    <a:pt x="854320" y="1639236"/>
                    <a:pt x="893707" y="1684030"/>
                    <a:pt x="939273" y="1721100"/>
                  </a:cubicBezTo>
                  <a:cubicBezTo>
                    <a:pt x="1012641" y="1780567"/>
                    <a:pt x="1079058" y="1846212"/>
                    <a:pt x="1143931" y="1914174"/>
                  </a:cubicBezTo>
                  <a:cubicBezTo>
                    <a:pt x="1185635" y="1958195"/>
                    <a:pt x="1214983" y="2011484"/>
                    <a:pt x="1242785" y="2065545"/>
                  </a:cubicBezTo>
                  <a:cubicBezTo>
                    <a:pt x="1295302" y="2165943"/>
                    <a:pt x="1340095" y="2270204"/>
                    <a:pt x="1414235" y="2357473"/>
                  </a:cubicBezTo>
                  <a:cubicBezTo>
                    <a:pt x="1442810" y="2390682"/>
                    <a:pt x="1537803" y="2513477"/>
                    <a:pt x="1542437" y="2524289"/>
                  </a:cubicBezTo>
                  <a:close/>
                </a:path>
              </a:pathLst>
            </a:custGeom>
            <a:solidFill>
              <a:srgbClr val="8B470B"/>
            </a:solidFill>
            <a:ln w="7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E7C06BA-25D0-9A62-D987-4439B4582AEC}"/>
                </a:ext>
              </a:extLst>
            </p:cNvPr>
            <p:cNvSpPr/>
            <p:nvPr/>
          </p:nvSpPr>
          <p:spPr>
            <a:xfrm>
              <a:off x="6339174" y="1414076"/>
              <a:ext cx="1341205" cy="3520131"/>
            </a:xfrm>
            <a:custGeom>
              <a:avLst/>
              <a:gdLst>
                <a:gd name="connsiteX0" fmla="*/ 18634 w 1341205"/>
                <a:gd name="connsiteY0" fmla="*/ 0 h 3520131"/>
                <a:gd name="connsiteX1" fmla="*/ 290483 w 1341205"/>
                <a:gd name="connsiteY1" fmla="*/ 295018 h 3520131"/>
                <a:gd name="connsiteX2" fmla="*/ 310563 w 1341205"/>
                <a:gd name="connsiteY2" fmla="*/ 315097 h 3520131"/>
                <a:gd name="connsiteX3" fmla="*/ 596313 w 1341205"/>
                <a:gd name="connsiteY3" fmla="*/ 1282786 h 3520131"/>
                <a:gd name="connsiteX4" fmla="*/ 743821 w 1341205"/>
                <a:gd name="connsiteY4" fmla="*/ 1644993 h 3520131"/>
                <a:gd name="connsiteX5" fmla="*/ 877429 w 1341205"/>
                <a:gd name="connsiteY5" fmla="*/ 1959318 h 3520131"/>
                <a:gd name="connsiteX6" fmla="*/ 1014898 w 1341205"/>
                <a:gd name="connsiteY6" fmla="*/ 2408795 h 3520131"/>
                <a:gd name="connsiteX7" fmla="*/ 1255082 w 1341205"/>
                <a:gd name="connsiteY7" fmla="*/ 2732388 h 3520131"/>
                <a:gd name="connsiteX8" fmla="*/ 1339263 w 1341205"/>
                <a:gd name="connsiteY8" fmla="*/ 2912333 h 3520131"/>
                <a:gd name="connsiteX9" fmla="*/ 1310688 w 1341205"/>
                <a:gd name="connsiteY9" fmla="*/ 3177231 h 3520131"/>
                <a:gd name="connsiteX10" fmla="*/ 1212606 w 1341205"/>
                <a:gd name="connsiteY10" fmla="*/ 3321651 h 3520131"/>
                <a:gd name="connsiteX11" fmla="*/ 1135376 w 1341205"/>
                <a:gd name="connsiteY11" fmla="*/ 3520131 h 3520131"/>
                <a:gd name="connsiteX12" fmla="*/ 1132287 w 1341205"/>
                <a:gd name="connsiteY12" fmla="*/ 3184954 h 3520131"/>
                <a:gd name="connsiteX13" fmla="*/ 1048879 w 1341205"/>
                <a:gd name="connsiteY13" fmla="*/ 3110041 h 3520131"/>
                <a:gd name="connsiteX14" fmla="*/ 572372 w 1341205"/>
                <a:gd name="connsiteY14" fmla="*/ 2620405 h 3520131"/>
                <a:gd name="connsiteX15" fmla="*/ 281215 w 1341205"/>
                <a:gd name="connsiteY15" fmla="*/ 1802542 h 3520131"/>
                <a:gd name="connsiteX16" fmla="*/ 265770 w 1341205"/>
                <a:gd name="connsiteY16" fmla="*/ 1790185 h 3520131"/>
                <a:gd name="connsiteX17" fmla="*/ 56477 w 1341205"/>
                <a:gd name="connsiteY17" fmla="*/ 1348431 h 3520131"/>
                <a:gd name="connsiteX18" fmla="*/ 10139 w 1341205"/>
                <a:gd name="connsiteY18" fmla="*/ 948381 h 3520131"/>
                <a:gd name="connsiteX19" fmla="*/ 52615 w 1341205"/>
                <a:gd name="connsiteY19" fmla="*/ 373020 h 3520131"/>
                <a:gd name="connsiteX20" fmla="*/ 14773 w 1341205"/>
                <a:gd name="connsiteY20" fmla="*/ 37070 h 3520131"/>
                <a:gd name="connsiteX21" fmla="*/ 18634 w 1341205"/>
                <a:gd name="connsiteY21" fmla="*/ 0 h 3520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1205" h="3520131">
                  <a:moveTo>
                    <a:pt x="18634" y="0"/>
                  </a:moveTo>
                  <a:cubicBezTo>
                    <a:pt x="141430" y="68734"/>
                    <a:pt x="215570" y="182262"/>
                    <a:pt x="290483" y="295018"/>
                  </a:cubicBezTo>
                  <a:cubicBezTo>
                    <a:pt x="295889" y="302741"/>
                    <a:pt x="297434" y="315097"/>
                    <a:pt x="310563" y="315097"/>
                  </a:cubicBezTo>
                  <a:cubicBezTo>
                    <a:pt x="329870" y="339038"/>
                    <a:pt x="556153" y="1180843"/>
                    <a:pt x="596313" y="1282786"/>
                  </a:cubicBezTo>
                  <a:cubicBezTo>
                    <a:pt x="644968" y="1404036"/>
                    <a:pt x="695167" y="1524515"/>
                    <a:pt x="743821" y="1644993"/>
                  </a:cubicBezTo>
                  <a:cubicBezTo>
                    <a:pt x="771624" y="1713728"/>
                    <a:pt x="870478" y="1934605"/>
                    <a:pt x="877429" y="1959318"/>
                  </a:cubicBezTo>
                  <a:cubicBezTo>
                    <a:pt x="909865" y="2079797"/>
                    <a:pt x="1000997" y="2380220"/>
                    <a:pt x="1014898" y="2408795"/>
                  </a:cubicBezTo>
                  <a:cubicBezTo>
                    <a:pt x="1095989" y="2579473"/>
                    <a:pt x="1141555" y="2581018"/>
                    <a:pt x="1255082" y="2732388"/>
                  </a:cubicBezTo>
                  <a:cubicBezTo>
                    <a:pt x="1289063" y="2777181"/>
                    <a:pt x="1353164" y="2858272"/>
                    <a:pt x="1339263" y="2912333"/>
                  </a:cubicBezTo>
                  <a:cubicBezTo>
                    <a:pt x="1310688" y="3020455"/>
                    <a:pt x="1331540" y="3067565"/>
                    <a:pt x="1310688" y="3177231"/>
                  </a:cubicBezTo>
                  <a:cubicBezTo>
                    <a:pt x="1283657" y="3270679"/>
                    <a:pt x="1218784" y="3310838"/>
                    <a:pt x="1212606" y="3321651"/>
                  </a:cubicBezTo>
                  <a:cubicBezTo>
                    <a:pt x="1190982" y="3370305"/>
                    <a:pt x="1126881" y="3439812"/>
                    <a:pt x="1135376" y="3520131"/>
                  </a:cubicBezTo>
                  <a:cubicBezTo>
                    <a:pt x="1027255" y="3456030"/>
                    <a:pt x="1163179" y="3259867"/>
                    <a:pt x="1132287" y="3184954"/>
                  </a:cubicBezTo>
                  <a:cubicBezTo>
                    <a:pt x="1116841" y="3147111"/>
                    <a:pt x="1086722" y="3121626"/>
                    <a:pt x="1048879" y="3110041"/>
                  </a:cubicBezTo>
                  <a:cubicBezTo>
                    <a:pt x="800972" y="3032811"/>
                    <a:pt x="668136" y="2846688"/>
                    <a:pt x="572372" y="2620405"/>
                  </a:cubicBezTo>
                  <a:cubicBezTo>
                    <a:pt x="460389" y="2353190"/>
                    <a:pt x="371574" y="2077480"/>
                    <a:pt x="281215" y="1802542"/>
                  </a:cubicBezTo>
                  <a:cubicBezTo>
                    <a:pt x="278126" y="1794047"/>
                    <a:pt x="280443" y="1782462"/>
                    <a:pt x="265770" y="1790185"/>
                  </a:cubicBezTo>
                  <a:cubicBezTo>
                    <a:pt x="197807" y="1641904"/>
                    <a:pt x="117489" y="1499801"/>
                    <a:pt x="56477" y="1348431"/>
                  </a:cubicBezTo>
                  <a:cubicBezTo>
                    <a:pt x="3961" y="1218685"/>
                    <a:pt x="-13030" y="1086622"/>
                    <a:pt x="10139" y="948381"/>
                  </a:cubicBezTo>
                  <a:cubicBezTo>
                    <a:pt x="41803" y="757624"/>
                    <a:pt x="61111" y="566094"/>
                    <a:pt x="52615" y="373020"/>
                  </a:cubicBezTo>
                  <a:cubicBezTo>
                    <a:pt x="47982" y="260264"/>
                    <a:pt x="43348" y="146736"/>
                    <a:pt x="14773" y="37070"/>
                  </a:cubicBezTo>
                  <a:cubicBezTo>
                    <a:pt x="13228" y="23941"/>
                    <a:pt x="8595" y="10812"/>
                    <a:pt x="18634" y="0"/>
                  </a:cubicBezTo>
                  <a:close/>
                </a:path>
              </a:pathLst>
            </a:custGeom>
            <a:solidFill>
              <a:srgbClr val="8B470B"/>
            </a:solidFill>
            <a:ln w="7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2A93406-3F12-1616-64E4-6C52AE112634}"/>
                </a:ext>
              </a:extLst>
            </p:cNvPr>
            <p:cNvSpPr/>
            <p:nvPr/>
          </p:nvSpPr>
          <p:spPr>
            <a:xfrm>
              <a:off x="5232479" y="1219648"/>
              <a:ext cx="1377548" cy="2564274"/>
            </a:xfrm>
            <a:custGeom>
              <a:avLst/>
              <a:gdLst>
                <a:gd name="connsiteX0" fmla="*/ 1125330 w 1377548"/>
                <a:gd name="connsiteY0" fmla="*/ 194428 h 2564274"/>
                <a:gd name="connsiteX1" fmla="*/ 1143865 w 1377548"/>
                <a:gd name="connsiteY1" fmla="*/ 1037005 h 2564274"/>
                <a:gd name="connsiteX2" fmla="*/ 1117607 w 1377548"/>
                <a:gd name="connsiteY2" fmla="*/ 1243208 h 2564274"/>
                <a:gd name="connsiteX3" fmla="*/ 1189431 w 1377548"/>
                <a:gd name="connsiteY3" fmla="*/ 1575296 h 2564274"/>
                <a:gd name="connsiteX4" fmla="*/ 1366287 w 1377548"/>
                <a:gd name="connsiteY4" fmla="*/ 1939820 h 2564274"/>
                <a:gd name="connsiteX5" fmla="*/ 1374010 w 1377548"/>
                <a:gd name="connsiteY5" fmla="*/ 1985386 h 2564274"/>
                <a:gd name="connsiteX6" fmla="*/ 1188658 w 1377548"/>
                <a:gd name="connsiteY6" fmla="*/ 2546074 h 2564274"/>
                <a:gd name="connsiteX7" fmla="*/ 1162400 w 1377548"/>
                <a:gd name="connsiteY7" fmla="*/ 2556113 h 2564274"/>
                <a:gd name="connsiteX8" fmla="*/ 905997 w 1377548"/>
                <a:gd name="connsiteY8" fmla="*/ 2229432 h 2564274"/>
                <a:gd name="connsiteX9" fmla="*/ 563097 w 1377548"/>
                <a:gd name="connsiteY9" fmla="*/ 1800807 h 2564274"/>
                <a:gd name="connsiteX10" fmla="*/ 445708 w 1377548"/>
                <a:gd name="connsiteY10" fmla="*/ 1628584 h 2564274"/>
                <a:gd name="connsiteX11" fmla="*/ 227148 w 1377548"/>
                <a:gd name="connsiteY11" fmla="*/ 1304992 h 2564274"/>
                <a:gd name="connsiteX12" fmla="*/ 2410 w 1377548"/>
                <a:gd name="connsiteY12" fmla="*/ 769017 h 2564274"/>
                <a:gd name="connsiteX13" fmla="*/ 61876 w 1377548"/>
                <a:gd name="connsiteY13" fmla="*/ 177438 h 2564274"/>
                <a:gd name="connsiteX14" fmla="*/ 75778 w 1377548"/>
                <a:gd name="connsiteY14" fmla="*/ 71633 h 2564274"/>
                <a:gd name="connsiteX15" fmla="*/ 250317 w 1377548"/>
                <a:gd name="connsiteY15" fmla="*/ 33790 h 2564274"/>
                <a:gd name="connsiteX16" fmla="*/ 701339 w 1377548"/>
                <a:gd name="connsiteY16" fmla="*/ 9077 h 2564274"/>
                <a:gd name="connsiteX17" fmla="*/ 894413 w 1377548"/>
                <a:gd name="connsiteY17" fmla="*/ 40741 h 2564274"/>
                <a:gd name="connsiteX18" fmla="*/ 1125330 w 1377548"/>
                <a:gd name="connsiteY18" fmla="*/ 194428 h 2564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77548" h="2564274">
                  <a:moveTo>
                    <a:pt x="1125330" y="194428"/>
                  </a:moveTo>
                  <a:cubicBezTo>
                    <a:pt x="1190975" y="474000"/>
                    <a:pt x="1179391" y="755116"/>
                    <a:pt x="1143865" y="1037005"/>
                  </a:cubicBezTo>
                  <a:cubicBezTo>
                    <a:pt x="1135370" y="1105739"/>
                    <a:pt x="1123785" y="1174473"/>
                    <a:pt x="1117607" y="1243208"/>
                  </a:cubicBezTo>
                  <a:cubicBezTo>
                    <a:pt x="1107567" y="1360597"/>
                    <a:pt x="1144637" y="1468719"/>
                    <a:pt x="1189431" y="1575296"/>
                  </a:cubicBezTo>
                  <a:cubicBezTo>
                    <a:pt x="1241947" y="1699636"/>
                    <a:pt x="1303730" y="1820114"/>
                    <a:pt x="1366287" y="1939820"/>
                  </a:cubicBezTo>
                  <a:cubicBezTo>
                    <a:pt x="1374010" y="1954494"/>
                    <a:pt x="1382505" y="1968395"/>
                    <a:pt x="1374010" y="1985386"/>
                  </a:cubicBezTo>
                  <a:cubicBezTo>
                    <a:pt x="1312226" y="2172282"/>
                    <a:pt x="1249670" y="2359177"/>
                    <a:pt x="1188658" y="2546074"/>
                  </a:cubicBezTo>
                  <a:cubicBezTo>
                    <a:pt x="1182480" y="2564609"/>
                    <a:pt x="1177846" y="2570787"/>
                    <a:pt x="1162400" y="2556113"/>
                  </a:cubicBezTo>
                  <a:cubicBezTo>
                    <a:pt x="1049645" y="2468071"/>
                    <a:pt x="962375" y="2359950"/>
                    <a:pt x="905997" y="2229432"/>
                  </a:cubicBezTo>
                  <a:cubicBezTo>
                    <a:pt x="831084" y="2054120"/>
                    <a:pt x="709834" y="1917424"/>
                    <a:pt x="563097" y="1800807"/>
                  </a:cubicBezTo>
                  <a:cubicBezTo>
                    <a:pt x="506720" y="1756013"/>
                    <a:pt x="462699" y="1700408"/>
                    <a:pt x="445708" y="1628584"/>
                  </a:cubicBezTo>
                  <a:cubicBezTo>
                    <a:pt x="413272" y="1492660"/>
                    <a:pt x="323685" y="1396895"/>
                    <a:pt x="227148" y="1304992"/>
                  </a:cubicBezTo>
                  <a:cubicBezTo>
                    <a:pt x="73461" y="1159027"/>
                    <a:pt x="12449" y="976765"/>
                    <a:pt x="2410" y="769017"/>
                  </a:cubicBezTo>
                  <a:cubicBezTo>
                    <a:pt x="-7630" y="568220"/>
                    <a:pt x="13994" y="372057"/>
                    <a:pt x="61876" y="177438"/>
                  </a:cubicBezTo>
                  <a:cubicBezTo>
                    <a:pt x="70372" y="142684"/>
                    <a:pt x="78867" y="107931"/>
                    <a:pt x="75778" y="71633"/>
                  </a:cubicBezTo>
                  <a:cubicBezTo>
                    <a:pt x="132155" y="50008"/>
                    <a:pt x="191622" y="45375"/>
                    <a:pt x="250317" y="33790"/>
                  </a:cubicBezTo>
                  <a:cubicBezTo>
                    <a:pt x="399370" y="4443"/>
                    <a:pt x="549196" y="-11003"/>
                    <a:pt x="701339" y="9077"/>
                  </a:cubicBezTo>
                  <a:cubicBezTo>
                    <a:pt x="766211" y="17572"/>
                    <a:pt x="831084" y="20661"/>
                    <a:pt x="894413" y="40741"/>
                  </a:cubicBezTo>
                  <a:cubicBezTo>
                    <a:pt x="986316" y="68544"/>
                    <a:pt x="1055823" y="131872"/>
                    <a:pt x="1125330" y="194428"/>
                  </a:cubicBezTo>
                  <a:close/>
                </a:path>
              </a:pathLst>
            </a:custGeom>
            <a:solidFill>
              <a:srgbClr val="FDC594"/>
            </a:solidFill>
            <a:ln w="7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49F1C29-368C-377E-CB0A-AAAEA97EE37D}"/>
                </a:ext>
              </a:extLst>
            </p:cNvPr>
            <p:cNvSpPr/>
            <p:nvPr/>
          </p:nvSpPr>
          <p:spPr>
            <a:xfrm>
              <a:off x="7493857" y="4820679"/>
              <a:ext cx="466302" cy="298106"/>
            </a:xfrm>
            <a:custGeom>
              <a:avLst/>
              <a:gdLst>
                <a:gd name="connsiteX0" fmla="*/ 400050 w 466302"/>
                <a:gd name="connsiteY0" fmla="*/ 128974 h 298106"/>
                <a:gd name="connsiteX1" fmla="*/ 328999 w 466302"/>
                <a:gd name="connsiteY1" fmla="*/ 123568 h 298106"/>
                <a:gd name="connsiteX2" fmla="*/ 77230 w 466302"/>
                <a:gd name="connsiteY2" fmla="*/ 0 h 298106"/>
                <a:gd name="connsiteX3" fmla="*/ 69507 w 466302"/>
                <a:gd name="connsiteY3" fmla="*/ 3089 h 298106"/>
                <a:gd name="connsiteX4" fmla="*/ 0 w 466302"/>
                <a:gd name="connsiteY4" fmla="*/ 160638 h 298106"/>
                <a:gd name="connsiteX5" fmla="*/ 247907 w 466302"/>
                <a:gd name="connsiteY5" fmla="*/ 298107 h 298106"/>
                <a:gd name="connsiteX6" fmla="*/ 345989 w 466302"/>
                <a:gd name="connsiteY6" fmla="*/ 254086 h 298106"/>
                <a:gd name="connsiteX7" fmla="*/ 400050 w 466302"/>
                <a:gd name="connsiteY7" fmla="*/ 253313 h 298106"/>
                <a:gd name="connsiteX8" fmla="*/ 454111 w 466302"/>
                <a:gd name="connsiteY8" fmla="*/ 225511 h 298106"/>
                <a:gd name="connsiteX9" fmla="*/ 400050 w 466302"/>
                <a:gd name="connsiteY9" fmla="*/ 128974 h 298106"/>
                <a:gd name="connsiteX10" fmla="*/ 413951 w 466302"/>
                <a:gd name="connsiteY10" fmla="*/ 222422 h 298106"/>
                <a:gd name="connsiteX11" fmla="*/ 329771 w 466302"/>
                <a:gd name="connsiteY11" fmla="*/ 220877 h 298106"/>
                <a:gd name="connsiteX12" fmla="*/ 305057 w 466302"/>
                <a:gd name="connsiteY12" fmla="*/ 200797 h 298106"/>
                <a:gd name="connsiteX13" fmla="*/ 322048 w 466302"/>
                <a:gd name="connsiteY13" fmla="*/ 178400 h 298106"/>
                <a:gd name="connsiteX14" fmla="*/ 413179 w 466302"/>
                <a:gd name="connsiteY14" fmla="*/ 158321 h 298106"/>
                <a:gd name="connsiteX15" fmla="*/ 440209 w 466302"/>
                <a:gd name="connsiteY15" fmla="*/ 189985 h 298106"/>
                <a:gd name="connsiteX16" fmla="*/ 413951 w 466302"/>
                <a:gd name="connsiteY16" fmla="*/ 222422 h 29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302" h="298106">
                  <a:moveTo>
                    <a:pt x="400050" y="128974"/>
                  </a:moveTo>
                  <a:cubicBezTo>
                    <a:pt x="376881" y="127429"/>
                    <a:pt x="347534" y="152143"/>
                    <a:pt x="328999" y="123568"/>
                  </a:cubicBezTo>
                  <a:cubicBezTo>
                    <a:pt x="298879" y="115845"/>
                    <a:pt x="149826" y="36298"/>
                    <a:pt x="77230" y="0"/>
                  </a:cubicBezTo>
                  <a:cubicBezTo>
                    <a:pt x="74913" y="772"/>
                    <a:pt x="71824" y="2317"/>
                    <a:pt x="69507" y="3089"/>
                  </a:cubicBezTo>
                  <a:cubicBezTo>
                    <a:pt x="65645" y="10812"/>
                    <a:pt x="5406" y="109666"/>
                    <a:pt x="0" y="160638"/>
                  </a:cubicBezTo>
                  <a:cubicBezTo>
                    <a:pt x="21624" y="193074"/>
                    <a:pt x="191530" y="284205"/>
                    <a:pt x="247907" y="298107"/>
                  </a:cubicBezTo>
                  <a:cubicBezTo>
                    <a:pt x="281889" y="233234"/>
                    <a:pt x="260264" y="235551"/>
                    <a:pt x="345989" y="254086"/>
                  </a:cubicBezTo>
                  <a:cubicBezTo>
                    <a:pt x="363752" y="254086"/>
                    <a:pt x="382287" y="254858"/>
                    <a:pt x="400050" y="253313"/>
                  </a:cubicBezTo>
                  <a:cubicBezTo>
                    <a:pt x="421674" y="251769"/>
                    <a:pt x="442526" y="243274"/>
                    <a:pt x="454111" y="225511"/>
                  </a:cubicBezTo>
                  <a:cubicBezTo>
                    <a:pt x="484230" y="177628"/>
                    <a:pt x="455655" y="132063"/>
                    <a:pt x="400050" y="128974"/>
                  </a:cubicBezTo>
                  <a:close/>
                  <a:moveTo>
                    <a:pt x="413951" y="222422"/>
                  </a:moveTo>
                  <a:cubicBezTo>
                    <a:pt x="401595" y="221649"/>
                    <a:pt x="345217" y="221649"/>
                    <a:pt x="329771" y="220877"/>
                  </a:cubicBezTo>
                  <a:cubicBezTo>
                    <a:pt x="317414" y="220105"/>
                    <a:pt x="306602" y="213154"/>
                    <a:pt x="305057" y="200797"/>
                  </a:cubicBezTo>
                  <a:cubicBezTo>
                    <a:pt x="303513" y="189985"/>
                    <a:pt x="315097" y="179173"/>
                    <a:pt x="322048" y="178400"/>
                  </a:cubicBezTo>
                  <a:cubicBezTo>
                    <a:pt x="352940" y="175312"/>
                    <a:pt x="379970" y="155232"/>
                    <a:pt x="413179" y="158321"/>
                  </a:cubicBezTo>
                  <a:cubicBezTo>
                    <a:pt x="436348" y="160638"/>
                    <a:pt x="440209" y="170678"/>
                    <a:pt x="440209" y="189985"/>
                  </a:cubicBezTo>
                  <a:cubicBezTo>
                    <a:pt x="440209" y="209292"/>
                    <a:pt x="437893" y="223966"/>
                    <a:pt x="413951" y="222422"/>
                  </a:cubicBezTo>
                  <a:close/>
                </a:path>
              </a:pathLst>
            </a:custGeom>
            <a:solidFill>
              <a:srgbClr val="1799F5"/>
            </a:solidFill>
            <a:ln w="7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716044B-1A88-2FF7-7E2C-35C3E9F4979C}"/>
                </a:ext>
              </a:extLst>
            </p:cNvPr>
            <p:cNvSpPr/>
            <p:nvPr/>
          </p:nvSpPr>
          <p:spPr>
            <a:xfrm>
              <a:off x="5631077" y="2599552"/>
              <a:ext cx="567638" cy="295407"/>
            </a:xfrm>
            <a:custGeom>
              <a:avLst/>
              <a:gdLst>
                <a:gd name="connsiteX0" fmla="*/ 567638 w 567638"/>
                <a:gd name="connsiteY0" fmla="*/ 0 h 295407"/>
                <a:gd name="connsiteX1" fmla="*/ 204659 w 567638"/>
                <a:gd name="connsiteY1" fmla="*/ 285750 h 295407"/>
                <a:gd name="connsiteX2" fmla="*/ 135152 w 567638"/>
                <a:gd name="connsiteY2" fmla="*/ 273393 h 295407"/>
                <a:gd name="connsiteX3" fmla="*/ 0 w 567638"/>
                <a:gd name="connsiteY3" fmla="*/ 96537 h 295407"/>
                <a:gd name="connsiteX4" fmla="*/ 79547 w 567638"/>
                <a:gd name="connsiteY4" fmla="*/ 139786 h 295407"/>
                <a:gd name="connsiteX5" fmla="*/ 256403 w 567638"/>
                <a:gd name="connsiteY5" fmla="*/ 149826 h 295407"/>
                <a:gd name="connsiteX6" fmla="*/ 567638 w 567638"/>
                <a:gd name="connsiteY6" fmla="*/ 0 h 295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7638" h="295407">
                  <a:moveTo>
                    <a:pt x="567638" y="0"/>
                  </a:moveTo>
                  <a:cubicBezTo>
                    <a:pt x="457200" y="108894"/>
                    <a:pt x="349851" y="220877"/>
                    <a:pt x="204659" y="285750"/>
                  </a:cubicBezTo>
                  <a:cubicBezTo>
                    <a:pt x="175311" y="298879"/>
                    <a:pt x="156776" y="301968"/>
                    <a:pt x="135152" y="273393"/>
                  </a:cubicBezTo>
                  <a:cubicBezTo>
                    <a:pt x="90359" y="214699"/>
                    <a:pt x="41704" y="159093"/>
                    <a:pt x="0" y="96537"/>
                  </a:cubicBezTo>
                  <a:cubicBezTo>
                    <a:pt x="26258" y="111211"/>
                    <a:pt x="53288" y="124340"/>
                    <a:pt x="79547" y="139786"/>
                  </a:cubicBezTo>
                  <a:cubicBezTo>
                    <a:pt x="136697" y="175311"/>
                    <a:pt x="196163" y="171450"/>
                    <a:pt x="256403" y="149826"/>
                  </a:cubicBezTo>
                  <a:cubicBezTo>
                    <a:pt x="364524" y="110438"/>
                    <a:pt x="463378" y="50199"/>
                    <a:pt x="567638" y="0"/>
                  </a:cubicBezTo>
                  <a:close/>
                </a:path>
              </a:pathLst>
            </a:custGeom>
            <a:solidFill>
              <a:srgbClr val="D08A52"/>
            </a:solidFill>
            <a:ln w="7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31165F0-0D30-CD2D-E494-F05C8AB24F38}"/>
                </a:ext>
              </a:extLst>
            </p:cNvPr>
            <p:cNvSpPr/>
            <p:nvPr/>
          </p:nvSpPr>
          <p:spPr>
            <a:xfrm>
              <a:off x="4640122" y="-71"/>
              <a:ext cx="2832111" cy="1734850"/>
            </a:xfrm>
            <a:custGeom>
              <a:avLst/>
              <a:gdLst>
                <a:gd name="connsiteX0" fmla="*/ 2185699 w 2832111"/>
                <a:gd name="connsiteY0" fmla="*/ 580067 h 1734850"/>
                <a:gd name="connsiteX1" fmla="*/ 1082858 w 2832111"/>
                <a:gd name="connsiteY1" fmla="*/ 10111 h 1734850"/>
                <a:gd name="connsiteX2" fmla="*/ 1024936 w 2832111"/>
                <a:gd name="connsiteY2" fmla="*/ 10883 h 1734850"/>
                <a:gd name="connsiteX3" fmla="*/ 19405 w 2832111"/>
                <a:gd name="connsiteY3" fmla="*/ 802488 h 1734850"/>
                <a:gd name="connsiteX4" fmla="*/ 24039 w 2832111"/>
                <a:gd name="connsiteY4" fmla="*/ 843420 h 1734850"/>
                <a:gd name="connsiteX5" fmla="*/ 543795 w 2832111"/>
                <a:gd name="connsiteY5" fmla="*/ 1074337 h 1734850"/>
                <a:gd name="connsiteX6" fmla="*/ 563874 w 2832111"/>
                <a:gd name="connsiteY6" fmla="*/ 1109090 h 1734850"/>
                <a:gd name="connsiteX7" fmla="*/ 548429 w 2832111"/>
                <a:gd name="connsiteY7" fmla="*/ 1211806 h 1734850"/>
                <a:gd name="connsiteX8" fmla="*/ 543022 w 2832111"/>
                <a:gd name="connsiteY8" fmla="*/ 1407197 h 1734850"/>
                <a:gd name="connsiteX9" fmla="*/ 724512 w 2832111"/>
                <a:gd name="connsiteY9" fmla="*/ 1298303 h 1734850"/>
                <a:gd name="connsiteX10" fmla="*/ 1208743 w 2832111"/>
                <a:gd name="connsiteY10" fmla="*/ 1228796 h 1734850"/>
                <a:gd name="connsiteX11" fmla="*/ 1538514 w 2832111"/>
                <a:gd name="connsiteY11" fmla="*/ 1306026 h 1734850"/>
                <a:gd name="connsiteX12" fmla="*/ 1899949 w 2832111"/>
                <a:gd name="connsiteY12" fmla="*/ 1596410 h 1734850"/>
                <a:gd name="connsiteX13" fmla="*/ 1981040 w 2832111"/>
                <a:gd name="connsiteY13" fmla="*/ 1713027 h 1734850"/>
                <a:gd name="connsiteX14" fmla="*/ 2018110 w 2832111"/>
                <a:gd name="connsiteY14" fmla="*/ 1726156 h 1734850"/>
                <a:gd name="connsiteX15" fmla="*/ 2076805 w 2832111"/>
                <a:gd name="connsiteY15" fmla="*/ 1440406 h 1734850"/>
                <a:gd name="connsiteX16" fmla="*/ 2150173 w 2832111"/>
                <a:gd name="connsiteY16" fmla="*/ 1320700 h 1734850"/>
                <a:gd name="connsiteX17" fmla="*/ 2832112 w 2832111"/>
                <a:gd name="connsiteY17" fmla="*/ 916016 h 1734850"/>
                <a:gd name="connsiteX18" fmla="*/ 2185699 w 2832111"/>
                <a:gd name="connsiteY18" fmla="*/ 580067 h 173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32111" h="1734850">
                  <a:moveTo>
                    <a:pt x="2185699" y="580067"/>
                  </a:moveTo>
                  <a:cubicBezTo>
                    <a:pt x="2181837" y="579294"/>
                    <a:pt x="1446610" y="199324"/>
                    <a:pt x="1082858" y="10111"/>
                  </a:cubicBezTo>
                  <a:cubicBezTo>
                    <a:pt x="1062006" y="-701"/>
                    <a:pt x="1046560" y="-6107"/>
                    <a:pt x="1024936" y="10883"/>
                  </a:cubicBezTo>
                  <a:cubicBezTo>
                    <a:pt x="690531" y="275781"/>
                    <a:pt x="355354" y="539135"/>
                    <a:pt x="19405" y="802488"/>
                  </a:cubicBezTo>
                  <a:cubicBezTo>
                    <a:pt x="-5309" y="821796"/>
                    <a:pt x="-9170" y="828746"/>
                    <a:pt x="24039" y="843420"/>
                  </a:cubicBezTo>
                  <a:cubicBezTo>
                    <a:pt x="197806" y="919105"/>
                    <a:pt x="370800" y="997107"/>
                    <a:pt x="543795" y="1074337"/>
                  </a:cubicBezTo>
                  <a:cubicBezTo>
                    <a:pt x="560013" y="1081287"/>
                    <a:pt x="568508" y="1088238"/>
                    <a:pt x="563874" y="1109090"/>
                  </a:cubicBezTo>
                  <a:cubicBezTo>
                    <a:pt x="556152" y="1143071"/>
                    <a:pt x="552290" y="1177052"/>
                    <a:pt x="548429" y="1211806"/>
                  </a:cubicBezTo>
                  <a:cubicBezTo>
                    <a:pt x="541478" y="1276679"/>
                    <a:pt x="533755" y="1341552"/>
                    <a:pt x="543022" y="1407197"/>
                  </a:cubicBezTo>
                  <a:cubicBezTo>
                    <a:pt x="583182" y="1367037"/>
                    <a:pt x="706749" y="1306026"/>
                    <a:pt x="724512" y="1298303"/>
                  </a:cubicBezTo>
                  <a:cubicBezTo>
                    <a:pt x="865843" y="1231885"/>
                    <a:pt x="1069729" y="1219529"/>
                    <a:pt x="1208743" y="1228796"/>
                  </a:cubicBezTo>
                  <a:cubicBezTo>
                    <a:pt x="1306824" y="1234975"/>
                    <a:pt x="1467462" y="1278996"/>
                    <a:pt x="1538514" y="1306026"/>
                  </a:cubicBezTo>
                  <a:cubicBezTo>
                    <a:pt x="1617288" y="1336146"/>
                    <a:pt x="1859017" y="1524586"/>
                    <a:pt x="1899949" y="1596410"/>
                  </a:cubicBezTo>
                  <a:cubicBezTo>
                    <a:pt x="1923890" y="1637342"/>
                    <a:pt x="1953237" y="1674412"/>
                    <a:pt x="1981040" y="1713027"/>
                  </a:cubicBezTo>
                  <a:cubicBezTo>
                    <a:pt x="1989535" y="1725383"/>
                    <a:pt x="1997258" y="1747008"/>
                    <a:pt x="2018110" y="1726156"/>
                  </a:cubicBezTo>
                  <a:cubicBezTo>
                    <a:pt x="2040507" y="1631935"/>
                    <a:pt x="2061359" y="1536171"/>
                    <a:pt x="2076805" y="1440406"/>
                  </a:cubicBezTo>
                  <a:cubicBezTo>
                    <a:pt x="2085300" y="1388662"/>
                    <a:pt x="2096112" y="1342324"/>
                    <a:pt x="2150173" y="1320700"/>
                  </a:cubicBezTo>
                  <a:cubicBezTo>
                    <a:pt x="2153262" y="1319155"/>
                    <a:pt x="2737891" y="970077"/>
                    <a:pt x="2832112" y="916016"/>
                  </a:cubicBezTo>
                  <a:cubicBezTo>
                    <a:pt x="2621274" y="807122"/>
                    <a:pt x="2194194" y="593196"/>
                    <a:pt x="2185699" y="580067"/>
                  </a:cubicBezTo>
                  <a:close/>
                </a:path>
              </a:pathLst>
            </a:custGeom>
            <a:solidFill>
              <a:srgbClr val="170B00"/>
            </a:solidFill>
            <a:ln w="7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772E39-F85E-826E-D404-EDBF74AB961E}"/>
                </a:ext>
              </a:extLst>
            </p:cNvPr>
            <p:cNvSpPr/>
            <p:nvPr/>
          </p:nvSpPr>
          <p:spPr>
            <a:xfrm>
              <a:off x="6710397" y="580627"/>
              <a:ext cx="221345" cy="1790897"/>
            </a:xfrm>
            <a:custGeom>
              <a:avLst/>
              <a:gdLst>
                <a:gd name="connsiteX0" fmla="*/ 18886 w 221345"/>
                <a:gd name="connsiteY0" fmla="*/ 1774880 h 1790897"/>
                <a:gd name="connsiteX1" fmla="*/ 351 w 221345"/>
                <a:gd name="connsiteY1" fmla="*/ 1751711 h 1790897"/>
                <a:gd name="connsiteX2" fmla="*/ 104612 w 221345"/>
                <a:gd name="connsiteY2" fmla="*/ 314465 h 1790897"/>
                <a:gd name="connsiteX3" fmla="*/ 92255 w 221345"/>
                <a:gd name="connsiteY3" fmla="*/ 280484 h 1790897"/>
                <a:gd name="connsiteX4" fmla="*/ 71403 w 221345"/>
                <a:gd name="connsiteY4" fmla="*/ 133748 h 1790897"/>
                <a:gd name="connsiteX5" fmla="*/ 115424 w 221345"/>
                <a:gd name="connsiteY5" fmla="*/ 140 h 1790897"/>
                <a:gd name="connsiteX6" fmla="*/ 141682 w 221345"/>
                <a:gd name="connsiteY6" fmla="*/ 16359 h 1790897"/>
                <a:gd name="connsiteX7" fmla="*/ 192653 w 221345"/>
                <a:gd name="connsiteY7" fmla="*/ 97450 h 1790897"/>
                <a:gd name="connsiteX8" fmla="*/ 208099 w 221345"/>
                <a:gd name="connsiteY8" fmla="*/ 220245 h 1790897"/>
                <a:gd name="connsiteX9" fmla="*/ 172574 w 221345"/>
                <a:gd name="connsiteY9" fmla="*/ 535342 h 1790897"/>
                <a:gd name="connsiteX10" fmla="*/ 188020 w 221345"/>
                <a:gd name="connsiteY10" fmla="*/ 1744760 h 1790897"/>
                <a:gd name="connsiteX11" fmla="*/ 140909 w 221345"/>
                <a:gd name="connsiteY11" fmla="*/ 1788781 h 1790897"/>
                <a:gd name="connsiteX12" fmla="*/ 18886 w 221345"/>
                <a:gd name="connsiteY12" fmla="*/ 1774880 h 179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1345" h="1790897">
                  <a:moveTo>
                    <a:pt x="18886" y="1774880"/>
                  </a:moveTo>
                  <a:cubicBezTo>
                    <a:pt x="1896" y="1773335"/>
                    <a:pt x="-1193" y="1769473"/>
                    <a:pt x="351" y="1751711"/>
                  </a:cubicBezTo>
                  <a:cubicBezTo>
                    <a:pt x="6530" y="1688382"/>
                    <a:pt x="95344" y="453479"/>
                    <a:pt x="104612" y="314465"/>
                  </a:cubicBezTo>
                  <a:cubicBezTo>
                    <a:pt x="105384" y="299792"/>
                    <a:pt x="102295" y="289752"/>
                    <a:pt x="92255" y="280484"/>
                  </a:cubicBezTo>
                  <a:cubicBezTo>
                    <a:pt x="44372" y="237236"/>
                    <a:pt x="45145" y="187036"/>
                    <a:pt x="71403" y="133748"/>
                  </a:cubicBezTo>
                  <a:cubicBezTo>
                    <a:pt x="92255" y="91271"/>
                    <a:pt x="115424" y="49567"/>
                    <a:pt x="115424" y="140"/>
                  </a:cubicBezTo>
                  <a:cubicBezTo>
                    <a:pt x="128553" y="-1404"/>
                    <a:pt x="133186" y="10180"/>
                    <a:pt x="141682" y="16359"/>
                  </a:cubicBezTo>
                  <a:cubicBezTo>
                    <a:pt x="157900" y="44161"/>
                    <a:pt x="174118" y="71192"/>
                    <a:pt x="192653" y="97450"/>
                  </a:cubicBezTo>
                  <a:cubicBezTo>
                    <a:pt x="218911" y="134520"/>
                    <a:pt x="233585" y="177769"/>
                    <a:pt x="208099" y="220245"/>
                  </a:cubicBezTo>
                  <a:cubicBezTo>
                    <a:pt x="147088" y="320644"/>
                    <a:pt x="169484" y="429538"/>
                    <a:pt x="172574" y="535342"/>
                  </a:cubicBezTo>
                  <a:cubicBezTo>
                    <a:pt x="174118" y="583997"/>
                    <a:pt x="184158" y="1674481"/>
                    <a:pt x="188020" y="1744760"/>
                  </a:cubicBezTo>
                  <a:cubicBezTo>
                    <a:pt x="190337" y="1783375"/>
                    <a:pt x="177207" y="1796504"/>
                    <a:pt x="140909" y="1788781"/>
                  </a:cubicBezTo>
                  <a:cubicBezTo>
                    <a:pt x="133959" y="1787236"/>
                    <a:pt x="52868" y="1777196"/>
                    <a:pt x="18886" y="1774880"/>
                  </a:cubicBezTo>
                  <a:close/>
                </a:path>
              </a:pathLst>
            </a:custGeom>
            <a:solidFill>
              <a:srgbClr val="F7D821"/>
            </a:solidFill>
            <a:ln w="7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53E272D-4B2B-EC81-DB35-1B44196719B3}"/>
                </a:ext>
              </a:extLst>
            </p:cNvPr>
            <p:cNvSpPr/>
            <p:nvPr/>
          </p:nvSpPr>
          <p:spPr>
            <a:xfrm>
              <a:off x="6698391" y="5413178"/>
              <a:ext cx="1056359" cy="986665"/>
            </a:xfrm>
            <a:custGeom>
              <a:avLst/>
              <a:gdLst>
                <a:gd name="connsiteX0" fmla="*/ 839487 w 1056359"/>
                <a:gd name="connsiteY0" fmla="*/ 109519 h 986665"/>
                <a:gd name="connsiteX1" fmla="*/ 905905 w 1056359"/>
                <a:gd name="connsiteY1" fmla="*/ 145817 h 986665"/>
                <a:gd name="connsiteX2" fmla="*/ 923668 w 1056359"/>
                <a:gd name="connsiteY2" fmla="*/ 181343 h 986665"/>
                <a:gd name="connsiteX3" fmla="*/ 875785 w 1056359"/>
                <a:gd name="connsiteY3" fmla="*/ 225364 h 986665"/>
                <a:gd name="connsiteX4" fmla="*/ 841032 w 1056359"/>
                <a:gd name="connsiteY4" fmla="*/ 225364 h 986665"/>
                <a:gd name="connsiteX5" fmla="*/ 961510 w 1056359"/>
                <a:gd name="connsiteY5" fmla="*/ 347387 h 986665"/>
                <a:gd name="connsiteX6" fmla="*/ 1016343 w 1056359"/>
                <a:gd name="connsiteY6" fmla="*/ 412260 h 986665"/>
                <a:gd name="connsiteX7" fmla="*/ 1030244 w 1056359"/>
                <a:gd name="connsiteY7" fmla="*/ 633909 h 986665"/>
                <a:gd name="connsiteX8" fmla="*/ 747584 w 1056359"/>
                <a:gd name="connsiteY8" fmla="*/ 943600 h 986665"/>
                <a:gd name="connsiteX9" fmla="*/ 471101 w 1056359"/>
                <a:gd name="connsiteY9" fmla="*/ 956729 h 986665"/>
                <a:gd name="connsiteX10" fmla="*/ 417813 w 1056359"/>
                <a:gd name="connsiteY10" fmla="*/ 850152 h 986665"/>
                <a:gd name="connsiteX11" fmla="*/ 434803 w 1056359"/>
                <a:gd name="connsiteY11" fmla="*/ 795319 h 986665"/>
                <a:gd name="connsiteX12" fmla="*/ 251769 w 1056359"/>
                <a:gd name="connsiteY12" fmla="*/ 795319 h 986665"/>
                <a:gd name="connsiteX13" fmla="*/ 224739 w 1056359"/>
                <a:gd name="connsiteY13" fmla="*/ 793002 h 986665"/>
                <a:gd name="connsiteX14" fmla="*/ 85725 w 1056359"/>
                <a:gd name="connsiteY14" fmla="*/ 558224 h 986665"/>
                <a:gd name="connsiteX15" fmla="*/ 127429 w 1056359"/>
                <a:gd name="connsiteY15" fmla="*/ 315723 h 986665"/>
                <a:gd name="connsiteX16" fmla="*/ 28575 w 1056359"/>
                <a:gd name="connsiteY16" fmla="*/ 162036 h 986665"/>
                <a:gd name="connsiteX17" fmla="*/ 0 w 1056359"/>
                <a:gd name="connsiteY17" fmla="*/ 152768 h 986665"/>
                <a:gd name="connsiteX18" fmla="*/ 87269 w 1056359"/>
                <a:gd name="connsiteY18" fmla="*/ 116470 h 986665"/>
                <a:gd name="connsiteX19" fmla="*/ 206203 w 1056359"/>
                <a:gd name="connsiteY19" fmla="*/ 86350 h 986665"/>
                <a:gd name="connsiteX20" fmla="*/ 399278 w 1056359"/>
                <a:gd name="connsiteY20" fmla="*/ 130371 h 986665"/>
                <a:gd name="connsiteX21" fmla="*/ 481913 w 1056359"/>
                <a:gd name="connsiteY21" fmla="*/ 15299 h 986665"/>
                <a:gd name="connsiteX22" fmla="*/ 556054 w 1056359"/>
                <a:gd name="connsiteY22" fmla="*/ 36923 h 986665"/>
                <a:gd name="connsiteX23" fmla="*/ 569183 w 1056359"/>
                <a:gd name="connsiteY23" fmla="*/ 53914 h 986665"/>
                <a:gd name="connsiteX24" fmla="*/ 573817 w 1056359"/>
                <a:gd name="connsiteY24" fmla="*/ 60092 h 986665"/>
                <a:gd name="connsiteX25" fmla="*/ 657997 w 1056359"/>
                <a:gd name="connsiteY25" fmla="*/ 107202 h 986665"/>
                <a:gd name="connsiteX26" fmla="*/ 839487 w 1056359"/>
                <a:gd name="connsiteY26" fmla="*/ 109519 h 986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56359" h="986665">
                  <a:moveTo>
                    <a:pt x="839487" y="109519"/>
                  </a:moveTo>
                  <a:cubicBezTo>
                    <a:pt x="858795" y="127282"/>
                    <a:pt x="888142" y="126510"/>
                    <a:pt x="905905" y="145817"/>
                  </a:cubicBezTo>
                  <a:cubicBezTo>
                    <a:pt x="915172" y="155857"/>
                    <a:pt x="938341" y="163580"/>
                    <a:pt x="923668" y="181343"/>
                  </a:cubicBezTo>
                  <a:cubicBezTo>
                    <a:pt x="910538" y="197561"/>
                    <a:pt x="911311" y="232315"/>
                    <a:pt x="875785" y="225364"/>
                  </a:cubicBezTo>
                  <a:cubicBezTo>
                    <a:pt x="867290" y="223819"/>
                    <a:pt x="858022" y="225364"/>
                    <a:pt x="841032" y="225364"/>
                  </a:cubicBezTo>
                  <a:cubicBezTo>
                    <a:pt x="883508" y="268613"/>
                    <a:pt x="922123" y="308000"/>
                    <a:pt x="961510" y="347387"/>
                  </a:cubicBezTo>
                  <a:cubicBezTo>
                    <a:pt x="981590" y="367467"/>
                    <a:pt x="1000125" y="388319"/>
                    <a:pt x="1016343" y="412260"/>
                  </a:cubicBezTo>
                  <a:cubicBezTo>
                    <a:pt x="1064998" y="484083"/>
                    <a:pt x="1068859" y="557452"/>
                    <a:pt x="1030244" y="633909"/>
                  </a:cubicBezTo>
                  <a:cubicBezTo>
                    <a:pt x="964599" y="763655"/>
                    <a:pt x="865745" y="863282"/>
                    <a:pt x="747584" y="943600"/>
                  </a:cubicBezTo>
                  <a:cubicBezTo>
                    <a:pt x="659542" y="1003840"/>
                    <a:pt x="564549" y="993799"/>
                    <a:pt x="471101" y="956729"/>
                  </a:cubicBezTo>
                  <a:cubicBezTo>
                    <a:pt x="423991" y="938194"/>
                    <a:pt x="407001" y="901124"/>
                    <a:pt x="417813" y="850152"/>
                  </a:cubicBezTo>
                  <a:cubicBezTo>
                    <a:pt x="421674" y="832390"/>
                    <a:pt x="428625" y="816171"/>
                    <a:pt x="434803" y="795319"/>
                  </a:cubicBezTo>
                  <a:cubicBezTo>
                    <a:pt x="373019" y="793002"/>
                    <a:pt x="312008" y="804587"/>
                    <a:pt x="251769" y="795319"/>
                  </a:cubicBezTo>
                  <a:cubicBezTo>
                    <a:pt x="243274" y="793775"/>
                    <a:pt x="234006" y="794547"/>
                    <a:pt x="224739" y="793002"/>
                  </a:cubicBezTo>
                  <a:cubicBezTo>
                    <a:pt x="88042" y="767516"/>
                    <a:pt x="56378" y="712684"/>
                    <a:pt x="85725" y="558224"/>
                  </a:cubicBezTo>
                  <a:cubicBezTo>
                    <a:pt x="101171" y="477905"/>
                    <a:pt x="115072" y="396814"/>
                    <a:pt x="127429" y="315723"/>
                  </a:cubicBezTo>
                  <a:cubicBezTo>
                    <a:pt x="139786" y="235404"/>
                    <a:pt x="107349" y="185205"/>
                    <a:pt x="28575" y="162036"/>
                  </a:cubicBezTo>
                  <a:cubicBezTo>
                    <a:pt x="20080" y="159718"/>
                    <a:pt x="12357" y="156629"/>
                    <a:pt x="0" y="152768"/>
                  </a:cubicBezTo>
                  <a:cubicBezTo>
                    <a:pt x="28575" y="131916"/>
                    <a:pt x="58695" y="124965"/>
                    <a:pt x="87269" y="116470"/>
                  </a:cubicBezTo>
                  <a:cubicBezTo>
                    <a:pt x="126657" y="104885"/>
                    <a:pt x="166816" y="95618"/>
                    <a:pt x="206203" y="86350"/>
                  </a:cubicBezTo>
                  <a:cubicBezTo>
                    <a:pt x="283433" y="68587"/>
                    <a:pt x="293473" y="70904"/>
                    <a:pt x="399278" y="130371"/>
                  </a:cubicBezTo>
                  <a:cubicBezTo>
                    <a:pt x="409318" y="79400"/>
                    <a:pt x="438665" y="42330"/>
                    <a:pt x="481913" y="15299"/>
                  </a:cubicBezTo>
                  <a:cubicBezTo>
                    <a:pt x="520528" y="-9414"/>
                    <a:pt x="534430" y="-5553"/>
                    <a:pt x="556054" y="36923"/>
                  </a:cubicBezTo>
                  <a:cubicBezTo>
                    <a:pt x="559143" y="43102"/>
                    <a:pt x="559916" y="52369"/>
                    <a:pt x="569183" y="53914"/>
                  </a:cubicBezTo>
                  <a:cubicBezTo>
                    <a:pt x="570728" y="55458"/>
                    <a:pt x="573045" y="57775"/>
                    <a:pt x="573817" y="60092"/>
                  </a:cubicBezTo>
                  <a:cubicBezTo>
                    <a:pt x="581540" y="123421"/>
                    <a:pt x="606253" y="118015"/>
                    <a:pt x="657997" y="107202"/>
                  </a:cubicBezTo>
                  <a:cubicBezTo>
                    <a:pt x="719009" y="93301"/>
                    <a:pt x="779248" y="82489"/>
                    <a:pt x="839487" y="109519"/>
                  </a:cubicBezTo>
                  <a:close/>
                </a:path>
              </a:pathLst>
            </a:custGeom>
            <a:solidFill>
              <a:srgbClr val="FDC594"/>
            </a:solidFill>
            <a:ln w="7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7B8D3CF7-7A0E-8BB6-5867-9B3479AA1646}"/>
                </a:ext>
              </a:extLst>
            </p:cNvPr>
            <p:cNvSpPr/>
            <p:nvPr/>
          </p:nvSpPr>
          <p:spPr>
            <a:xfrm>
              <a:off x="7250584" y="5690286"/>
              <a:ext cx="349284" cy="505854"/>
            </a:xfrm>
            <a:custGeom>
              <a:avLst/>
              <a:gdLst>
                <a:gd name="connsiteX0" fmla="*/ 254086 w 349284"/>
                <a:gd name="connsiteY0" fmla="*/ 0 h 505854"/>
                <a:gd name="connsiteX1" fmla="*/ 289611 w 349284"/>
                <a:gd name="connsiteY1" fmla="*/ 339811 h 505854"/>
                <a:gd name="connsiteX2" fmla="*/ 0 w 349284"/>
                <a:gd name="connsiteY2" fmla="*/ 505855 h 505854"/>
                <a:gd name="connsiteX3" fmla="*/ 106577 w 349284"/>
                <a:gd name="connsiteY3" fmla="*/ 428625 h 505854"/>
                <a:gd name="connsiteX4" fmla="*/ 227055 w 349284"/>
                <a:gd name="connsiteY4" fmla="*/ 339811 h 505854"/>
                <a:gd name="connsiteX5" fmla="*/ 283433 w 349284"/>
                <a:gd name="connsiteY5" fmla="*/ 175312 h 505854"/>
                <a:gd name="connsiteX6" fmla="*/ 254086 w 349284"/>
                <a:gd name="connsiteY6" fmla="*/ 0 h 50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9284" h="505854">
                  <a:moveTo>
                    <a:pt x="254086" y="0"/>
                  </a:moveTo>
                  <a:cubicBezTo>
                    <a:pt x="348306" y="88814"/>
                    <a:pt x="393872" y="250225"/>
                    <a:pt x="289611" y="339811"/>
                  </a:cubicBezTo>
                  <a:cubicBezTo>
                    <a:pt x="203114" y="414724"/>
                    <a:pt x="107349" y="468785"/>
                    <a:pt x="0" y="505855"/>
                  </a:cubicBezTo>
                  <a:cubicBezTo>
                    <a:pt x="35526" y="480369"/>
                    <a:pt x="71051" y="454883"/>
                    <a:pt x="106577" y="428625"/>
                  </a:cubicBezTo>
                  <a:cubicBezTo>
                    <a:pt x="146736" y="399278"/>
                    <a:pt x="184579" y="366069"/>
                    <a:pt x="227055" y="339811"/>
                  </a:cubicBezTo>
                  <a:cubicBezTo>
                    <a:pt x="292701" y="299651"/>
                    <a:pt x="288839" y="237095"/>
                    <a:pt x="283433" y="175312"/>
                  </a:cubicBezTo>
                  <a:cubicBezTo>
                    <a:pt x="278027" y="119706"/>
                    <a:pt x="264898" y="64873"/>
                    <a:pt x="254086" y="0"/>
                  </a:cubicBezTo>
                  <a:close/>
                </a:path>
              </a:pathLst>
            </a:custGeom>
            <a:solidFill>
              <a:srgbClr val="DF9D6B"/>
            </a:solidFill>
            <a:ln w="7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53F1C84-ED81-4010-82AF-40ACFD48C90B}"/>
              </a:ext>
            </a:extLst>
          </p:cNvPr>
          <p:cNvGrpSpPr/>
          <p:nvPr/>
        </p:nvGrpSpPr>
        <p:grpSpPr>
          <a:xfrm>
            <a:off x="1357058" y="1778688"/>
            <a:ext cx="3014647" cy="840040"/>
            <a:chOff x="2113657" y="4283314"/>
            <a:chExt cx="3647460" cy="930241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78C9175-92F1-44C0-A03B-A14B8025482F}"/>
                </a:ext>
              </a:extLst>
            </p:cNvPr>
            <p:cNvSpPr txBox="1"/>
            <p:nvPr/>
          </p:nvSpPr>
          <p:spPr>
            <a:xfrm>
              <a:off x="2113657" y="4702318"/>
              <a:ext cx="3647456" cy="5112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Requirements for how to become a dangerous goods instructor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538AA02C-B00A-4F46-88D3-5E21FAA9ADAC}"/>
                </a:ext>
              </a:extLst>
            </p:cNvPr>
            <p:cNvSpPr txBox="1"/>
            <p:nvPr/>
          </p:nvSpPr>
          <p:spPr>
            <a:xfrm>
              <a:off x="2113658" y="4283314"/>
              <a:ext cx="3647459" cy="3408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Requirements for accreditation </a:t>
              </a:r>
              <a:endParaRPr lang="ko-KR" altLang="en-US" sz="1400" b="1" dirty="0">
                <a:solidFill>
                  <a:schemeClr val="accent1"/>
                </a:solidFill>
                <a:cs typeface="Arial" pitchFamily="34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1618275-2AA3-405A-81C4-78DD2FE5599C}"/>
              </a:ext>
            </a:extLst>
          </p:cNvPr>
          <p:cNvGrpSpPr/>
          <p:nvPr/>
        </p:nvGrpSpPr>
        <p:grpSpPr>
          <a:xfrm>
            <a:off x="4751759" y="1778688"/>
            <a:ext cx="3540575" cy="810140"/>
            <a:chOff x="2113657" y="4283314"/>
            <a:chExt cx="3647460" cy="669660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7B87FB7-7ED5-4FCE-A5B8-323CC491F54F}"/>
                </a:ext>
              </a:extLst>
            </p:cNvPr>
            <p:cNvSpPr txBox="1"/>
            <p:nvPr/>
          </p:nvSpPr>
          <p:spPr>
            <a:xfrm>
              <a:off x="2113657" y="4571363"/>
              <a:ext cx="3647456" cy="381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Highlight qualification and competency requirements required 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A8BF60A3-9791-4A26-98A1-4AA1322CB539}"/>
                </a:ext>
              </a:extLst>
            </p:cNvPr>
            <p:cNvSpPr txBox="1"/>
            <p:nvPr/>
          </p:nvSpPr>
          <p:spPr>
            <a:xfrm>
              <a:off x="2113658" y="4283314"/>
              <a:ext cx="36474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ompetency to conduct training</a:t>
              </a:r>
              <a:endParaRPr lang="ko-KR" altLang="en-US" sz="1400" b="1" dirty="0">
                <a:solidFill>
                  <a:schemeClr val="accent2"/>
                </a:solidFill>
                <a:cs typeface="Arial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DA20817-05E8-415D-9D83-4FB30D6EEC1C}"/>
              </a:ext>
            </a:extLst>
          </p:cNvPr>
          <p:cNvGrpSpPr/>
          <p:nvPr/>
        </p:nvGrpSpPr>
        <p:grpSpPr>
          <a:xfrm>
            <a:off x="1357058" y="3099952"/>
            <a:ext cx="3014643" cy="673475"/>
            <a:chOff x="2113657" y="4283314"/>
            <a:chExt cx="3647460" cy="489296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88A25850-0B3A-432D-AA44-3C2BC5C055CF}"/>
                </a:ext>
              </a:extLst>
            </p:cNvPr>
            <p:cNvSpPr txBox="1"/>
            <p:nvPr/>
          </p:nvSpPr>
          <p:spPr>
            <a:xfrm>
              <a:off x="2113657" y="4571363"/>
              <a:ext cx="3647456" cy="2012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Validity of the certificates 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B61B5CE2-6EDA-4CE7-8E0A-2530495B08CC}"/>
                </a:ext>
              </a:extLst>
            </p:cNvPr>
            <p:cNvSpPr txBox="1"/>
            <p:nvPr/>
          </p:nvSpPr>
          <p:spPr>
            <a:xfrm>
              <a:off x="2113658" y="4283314"/>
              <a:ext cx="36474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Validity of the certificate </a:t>
              </a:r>
              <a:endParaRPr lang="ko-KR" altLang="en-US" sz="1400" b="1" dirty="0">
                <a:solidFill>
                  <a:schemeClr val="accent4"/>
                </a:solidFill>
                <a:cs typeface="Arial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A600B22-E4FC-480B-A15F-45D5E03149BC}"/>
              </a:ext>
            </a:extLst>
          </p:cNvPr>
          <p:cNvGrpSpPr/>
          <p:nvPr/>
        </p:nvGrpSpPr>
        <p:grpSpPr>
          <a:xfrm>
            <a:off x="4751757" y="3099952"/>
            <a:ext cx="3540581" cy="1267828"/>
            <a:chOff x="2113655" y="4283313"/>
            <a:chExt cx="3647462" cy="724913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CD915C9-3C3B-4211-B58B-AD7EB0EBC027}"/>
                </a:ext>
              </a:extLst>
            </p:cNvPr>
            <p:cNvSpPr txBox="1"/>
            <p:nvPr/>
          </p:nvSpPr>
          <p:spPr>
            <a:xfrm>
              <a:off x="2113655" y="4638670"/>
              <a:ext cx="3647456" cy="3695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Validation of certificates of foreign instructors  wishing to conduct  dangerous goods training within South Africa.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0F28221-9897-44B7-BCAF-EC42FEB739E4}"/>
                </a:ext>
              </a:extLst>
            </p:cNvPr>
            <p:cNvSpPr txBox="1"/>
            <p:nvPr/>
          </p:nvSpPr>
          <p:spPr>
            <a:xfrm>
              <a:off x="2113658" y="4283313"/>
              <a:ext cx="3647459" cy="4283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Validation of Foreign instructor certificates </a:t>
              </a:r>
              <a:endParaRPr lang="ko-KR" altLang="en-US" sz="1400" b="1" dirty="0">
                <a:solidFill>
                  <a:schemeClr val="accent3"/>
                </a:solidFill>
                <a:cs typeface="Arial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16B3D8A-5F7F-4696-AFFD-85EE90DB9DD9}"/>
              </a:ext>
            </a:extLst>
          </p:cNvPr>
          <p:cNvGrpSpPr/>
          <p:nvPr/>
        </p:nvGrpSpPr>
        <p:grpSpPr>
          <a:xfrm>
            <a:off x="957262" y="5305312"/>
            <a:ext cx="10113323" cy="611492"/>
            <a:chOff x="957263" y="5120805"/>
            <a:chExt cx="10277475" cy="1097280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5E5E197-4081-4FD2-B01F-EB3BB340D572}"/>
                </a:ext>
              </a:extLst>
            </p:cNvPr>
            <p:cNvSpPr/>
            <p:nvPr/>
          </p:nvSpPr>
          <p:spPr>
            <a:xfrm>
              <a:off x="957263" y="5120805"/>
              <a:ext cx="10277475" cy="109728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13C27D7A-F218-4D2A-A754-E5A0105ECFF6}"/>
                </a:ext>
              </a:extLst>
            </p:cNvPr>
            <p:cNvSpPr/>
            <p:nvPr/>
          </p:nvSpPr>
          <p:spPr>
            <a:xfrm>
              <a:off x="10137458" y="5120805"/>
              <a:ext cx="1097280" cy="109728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82E09F41-A813-40AF-9BCC-2340FA3224A9}"/>
              </a:ext>
            </a:extLst>
          </p:cNvPr>
          <p:cNvSpPr txBox="1"/>
          <p:nvPr/>
        </p:nvSpPr>
        <p:spPr>
          <a:xfrm>
            <a:off x="1333499" y="5389402"/>
            <a:ext cx="8382000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GB" altLang="ko-KR" sz="2400" b="1" dirty="0">
                <a:solidFill>
                  <a:schemeClr val="bg1"/>
                </a:solidFill>
                <a:cs typeface="Arial" pitchFamily="34" charset="0"/>
              </a:rPr>
              <a:t>Regulations: Part 92.04.1 to Part 92.04.5</a:t>
            </a:r>
            <a:endParaRPr lang="ko-KR" altLang="en-US" sz="2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6FE0AC-F728-DB83-2365-2D9363C0FCDA}"/>
              </a:ext>
            </a:extLst>
          </p:cNvPr>
          <p:cNvSpPr txBox="1"/>
          <p:nvPr/>
        </p:nvSpPr>
        <p:spPr>
          <a:xfrm>
            <a:off x="313509" y="412730"/>
            <a:ext cx="11625941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alt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Subpart 4- Instructor accreditation </a:t>
            </a:r>
            <a:endParaRPr kumimoji="0" lang="en-ZA" sz="5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 panose="020F0302020204030204"/>
              <a:ea typeface="+mn-ea"/>
              <a:cs typeface="Arial" pitchFamily="34" charset="0"/>
            </a:endParaRPr>
          </a:p>
        </p:txBody>
      </p:sp>
      <p:sp>
        <p:nvSpPr>
          <p:cNvPr id="5" name="1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943C479-6F25-C93D-5E8D-BC71D81EF5A4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839090" y="1778712"/>
            <a:ext cx="452652" cy="450811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6" name="1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EA78840-1973-798D-FE56-2CCDD973ED2A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4338803" y="1773377"/>
            <a:ext cx="452652" cy="450811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7" name="1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1A3A857-AAFA-6913-4057-9D1B5A109F5F}"/>
              </a:ext>
            </a:extLst>
          </p:cNvPr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897207" y="3042750"/>
            <a:ext cx="452652" cy="450811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3810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dirty="0">
                <a:solidFill>
                  <a:schemeClr val="bg1"/>
                </a:solidFill>
                <a:latin typeface="Calibri" panose="020F0502020204030204"/>
              </a:rPr>
              <a:t>3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1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5854D4-6C13-4431-EA1F-A82E6E459719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4319146" y="3023085"/>
            <a:ext cx="452652" cy="450811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DBF7E1-6116-3E88-3A1F-2F68A926C9B2}"/>
              </a:ext>
            </a:extLst>
          </p:cNvPr>
          <p:cNvCxnSpPr>
            <a:cxnSpLocks/>
          </p:cNvCxnSpPr>
          <p:nvPr/>
        </p:nvCxnSpPr>
        <p:spPr>
          <a:xfrm>
            <a:off x="4257515" y="1918229"/>
            <a:ext cx="0" cy="2322966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dang ppt cont bot.png">
            <a:extLst>
              <a:ext uri="{FF2B5EF4-FFF2-40B4-BE49-F238E27FC236}">
                <a16:creationId xmlns:a16="http://schemas.microsoft.com/office/drawing/2014/main" id="{6B2C1FCB-33CF-DB9A-FF38-F3363DBF904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67079"/>
            <a:ext cx="12192000" cy="690921"/>
          </a:xfrm>
          <a:prstGeom prst="rect">
            <a:avLst/>
          </a:prstGeom>
        </p:spPr>
      </p:pic>
      <p:pic>
        <p:nvPicPr>
          <p:cNvPr id="19" name="Picture 18" descr="dang ppt cont top 2.png">
            <a:extLst>
              <a:ext uri="{FF2B5EF4-FFF2-40B4-BE49-F238E27FC236}">
                <a16:creationId xmlns:a16="http://schemas.microsoft.com/office/drawing/2014/main" id="{83E8A180-EBA4-C478-4C38-DE6A4AF9385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8215" y="158993"/>
            <a:ext cx="990600" cy="114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353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C0719F0-0EBB-1851-8FA7-4D4B1139B23D}"/>
              </a:ext>
            </a:extLst>
          </p:cNvPr>
          <p:cNvSpPr txBox="1"/>
          <p:nvPr/>
        </p:nvSpPr>
        <p:spPr>
          <a:xfrm>
            <a:off x="3397600" y="5938518"/>
            <a:ext cx="60938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rPr>
              <a:t>Regulations: Part 92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6" name="STICKY_NOTE"/>
          <p:cNvSpPr/>
          <p:nvPr/>
        </p:nvSpPr>
        <p:spPr>
          <a:xfrm rot="20961984">
            <a:off x="1023678" y="2709521"/>
            <a:ext cx="3119094" cy="3116967"/>
          </a:xfrm>
          <a:prstGeom prst="foldedCorner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lvl="0" algn="ctr">
              <a:defRPr/>
            </a:pPr>
            <a:r>
              <a:rPr lang="en-GB" altLang="ko-KR" sz="1600" b="1" dirty="0">
                <a:solidFill>
                  <a:prstClr val="white"/>
                </a:solidFill>
                <a:latin typeface="Arial"/>
                <a:cs typeface="Arial" pitchFamily="34" charset="0"/>
              </a:rPr>
              <a:t>A dangerous goods packing organisation within the Republic involved in packing services for dangerous goods conveyed by air.</a:t>
            </a:r>
          </a:p>
          <a:p>
            <a:pPr lvl="0" algn="ctr">
              <a:defRPr/>
            </a:pPr>
            <a:endParaRPr lang="en-GB" altLang="ko-KR" sz="1600" b="1" dirty="0">
              <a:solidFill>
                <a:prstClr val="white"/>
              </a:solidFill>
              <a:latin typeface="Arial"/>
              <a:cs typeface="Arial" pitchFamily="34" charset="0"/>
            </a:endParaRPr>
          </a:p>
          <a:p>
            <a:pPr lvl="0" algn="ctr">
              <a:defRPr/>
            </a:pPr>
            <a:r>
              <a:rPr lang="en-GB" altLang="ko-KR" b="1" dirty="0">
                <a:solidFill>
                  <a:prstClr val="white"/>
                </a:solidFill>
                <a:latin typeface="Arial"/>
                <a:cs typeface="Arial" pitchFamily="34" charset="0"/>
              </a:rPr>
              <a:t>92.01.47 (10) </a:t>
            </a:r>
            <a:endParaRPr lang="ko-KR" altLang="en-US" b="1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 rot="20961984">
            <a:off x="1654194" y="2559295"/>
            <a:ext cx="208183" cy="394370"/>
            <a:chOff x="7445829" y="2572203"/>
            <a:chExt cx="304800" cy="57739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7597693" y="2757714"/>
              <a:ext cx="152936" cy="391886"/>
            </a:xfrm>
            <a:prstGeom prst="line">
              <a:avLst/>
            </a:prstGeom>
            <a:ln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val 13"/>
            <p:cNvSpPr>
              <a:spLocks noChangeAspect="1"/>
            </p:cNvSpPr>
            <p:nvPr/>
          </p:nvSpPr>
          <p:spPr>
            <a:xfrm>
              <a:off x="7445829" y="2572203"/>
              <a:ext cx="291356" cy="291356"/>
            </a:xfrm>
            <a:prstGeom prst="ellipse">
              <a:avLst/>
            </a:prstGeom>
            <a:gradFill flip="none" rotWithShape="1">
              <a:gsLst>
                <a:gs pos="0">
                  <a:schemeClr val="lt1"/>
                </a:gs>
                <a:gs pos="12000">
                  <a:schemeClr val="accent1">
                    <a:lumMod val="0"/>
                    <a:lumOff val="100000"/>
                  </a:schemeClr>
                </a:gs>
                <a:gs pos="100000">
                  <a:schemeClr val="tx1"/>
                </a:gs>
              </a:gsLst>
              <a:path path="circle">
                <a:fillToRect l="50000" t="-80000" r="50000" b="18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7" name="STICKY_NOTE"/>
          <p:cNvSpPr/>
          <p:nvPr/>
        </p:nvSpPr>
        <p:spPr>
          <a:xfrm rot="508204">
            <a:off x="4824391" y="1566083"/>
            <a:ext cx="3119094" cy="3116967"/>
          </a:xfrm>
          <a:prstGeom prst="foldedCorner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lvl="0" algn="ctr">
              <a:defRPr/>
            </a:pPr>
            <a:r>
              <a:rPr lang="en-GB" sz="1600" b="1" kern="0" dirty="0">
                <a:effectLst>
                  <a:glow>
                    <a:scrgbClr r="0" g="0" b="0"/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n air service operator or a cargo handling agent seeking to handle dangerous goods in terms of this Part shall seek approval of the Director as prescribed in Document SA-CATS 92.</a:t>
            </a:r>
          </a:p>
          <a:p>
            <a:pPr lvl="0" algn="ctr">
              <a:defRPr/>
            </a:pPr>
            <a:endParaRPr lang="en-GB" sz="1600" b="1" kern="0" dirty="0">
              <a:effectLst>
                <a:glow>
                  <a:scrgbClr r="0" g="0" b="0"/>
                </a:glo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en-GB" sz="1600" b="1" kern="0" dirty="0">
                <a:effectLst>
                  <a:glow>
                    <a:scrgbClr r="0" g="0" b="0"/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rPr>
              <a:t>92.1.47 (5) (6)</a:t>
            </a:r>
            <a:endParaRPr lang="en-GB" b="1" kern="0" dirty="0">
              <a:effectLst>
                <a:glow>
                  <a:scrgbClr r="0" g="0" b="0"/>
                </a:glo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/>
        </p:nvGrpSpPr>
        <p:grpSpPr>
          <a:xfrm rot="21091796" flipH="1">
            <a:off x="6470940" y="1258211"/>
            <a:ext cx="208183" cy="394370"/>
            <a:chOff x="7445829" y="2572203"/>
            <a:chExt cx="304800" cy="577397"/>
          </a:xfrm>
        </p:grpSpPr>
        <p:cxnSp>
          <p:nvCxnSpPr>
            <p:cNvPr id="29" name="Straight Connector 28"/>
            <p:cNvCxnSpPr/>
            <p:nvPr/>
          </p:nvCxnSpPr>
          <p:spPr>
            <a:xfrm>
              <a:off x="7597693" y="2757714"/>
              <a:ext cx="152936" cy="391886"/>
            </a:xfrm>
            <a:prstGeom prst="line">
              <a:avLst/>
            </a:prstGeom>
            <a:ln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/>
            <p:cNvSpPr>
              <a:spLocks noChangeAspect="1"/>
            </p:cNvSpPr>
            <p:nvPr/>
          </p:nvSpPr>
          <p:spPr>
            <a:xfrm>
              <a:off x="7445829" y="2572203"/>
              <a:ext cx="291356" cy="291356"/>
            </a:xfrm>
            <a:prstGeom prst="ellipse">
              <a:avLst/>
            </a:prstGeom>
            <a:gradFill flip="none" rotWithShape="1">
              <a:gsLst>
                <a:gs pos="0">
                  <a:schemeClr val="lt1"/>
                </a:gs>
                <a:gs pos="15000">
                  <a:schemeClr val="accent1">
                    <a:lumMod val="0"/>
                    <a:lumOff val="100000"/>
                  </a:schemeClr>
                </a:gs>
                <a:gs pos="100000">
                  <a:schemeClr val="tx1"/>
                </a:gs>
              </a:gsLst>
              <a:path path="circle">
                <a:fillToRect l="50000" t="-80000" r="50000" b="18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2" name="STICKY_NOTE"/>
          <p:cNvSpPr/>
          <p:nvPr/>
        </p:nvSpPr>
        <p:spPr>
          <a:xfrm rot="21369907">
            <a:off x="8245487" y="2875247"/>
            <a:ext cx="3199229" cy="3438751"/>
          </a:xfrm>
          <a:prstGeom prst="foldedCorner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lvl="0" algn="ctr">
              <a:defRPr/>
            </a:pPr>
            <a:endParaRPr lang="en-GB" kern="0" dirty="0">
              <a:effectLst>
                <a:glow>
                  <a:scrgbClr r="0" g="0" b="0"/>
                </a:glow>
              </a:effectLst>
            </a:endParaRPr>
          </a:p>
          <a:p>
            <a:pPr lvl="0" algn="ctr">
              <a:defRPr/>
            </a:pP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entity dealing with or handling cargo to be conveyed by air shall comply with requirements in Regulation:</a:t>
            </a:r>
          </a:p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  <a:effectLst>
                <a:glow>
                  <a:scrgbClr r="0" g="0" b="0"/>
                </a:glo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en-GB" sz="1600" b="1" kern="0" dirty="0">
                <a:solidFill>
                  <a:schemeClr val="bg1"/>
                </a:solidFill>
                <a:effectLst>
                  <a:glow>
                    <a:scrgbClr r="0" g="0" b="0"/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rPr>
              <a:t>92.01.47 (7)</a:t>
            </a:r>
          </a:p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  <a:effectLst>
                <a:glow>
                  <a:scrgbClr r="0" g="0" b="0"/>
                </a:glo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  <a:effectLst>
                <a:glow>
                  <a:scrgbClr r="0" g="0" b="0"/>
                </a:glo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en-GB" sz="1600" b="1" kern="0" dirty="0">
                <a:solidFill>
                  <a:schemeClr val="bg1"/>
                </a:solidFill>
                <a:effectLst>
                  <a:glow>
                    <a:scrgbClr r="0" g="0" b="0"/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lso see 92.01.47 (1)(2)(3)(4) (8) (9) (11) </a:t>
            </a:r>
            <a:endParaRPr lang="en-ZA" b="1" kern="0" dirty="0">
              <a:solidFill>
                <a:schemeClr val="bg1"/>
              </a:solidFill>
              <a:effectLst>
                <a:glow>
                  <a:scrgbClr r="0" g="0" b="0"/>
                </a:glow>
              </a:effectLst>
            </a:endParaRPr>
          </a:p>
        </p:txBody>
      </p:sp>
      <p:grpSp>
        <p:nvGrpSpPr>
          <p:cNvPr id="33" name="Group 32"/>
          <p:cNvGrpSpPr/>
          <p:nvPr/>
        </p:nvGrpSpPr>
        <p:grpSpPr>
          <a:xfrm rot="21369907">
            <a:off x="9022212" y="2641033"/>
            <a:ext cx="208183" cy="394370"/>
            <a:chOff x="7445829" y="2572203"/>
            <a:chExt cx="304800" cy="577397"/>
          </a:xfrm>
        </p:grpSpPr>
        <p:cxnSp>
          <p:nvCxnSpPr>
            <p:cNvPr id="34" name="Straight Connector 33"/>
            <p:cNvCxnSpPr/>
            <p:nvPr/>
          </p:nvCxnSpPr>
          <p:spPr>
            <a:xfrm>
              <a:off x="7597693" y="2757714"/>
              <a:ext cx="152936" cy="391886"/>
            </a:xfrm>
            <a:prstGeom prst="line">
              <a:avLst/>
            </a:prstGeom>
            <a:ln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7445829" y="2572203"/>
              <a:ext cx="291356" cy="291356"/>
            </a:xfrm>
            <a:prstGeom prst="ellipse">
              <a:avLst/>
            </a:prstGeom>
            <a:gradFill flip="none" rotWithShape="1">
              <a:gsLst>
                <a:gs pos="0">
                  <a:schemeClr val="lt1"/>
                </a:gs>
                <a:gs pos="24000">
                  <a:schemeClr val="accent1">
                    <a:lumMod val="0"/>
                    <a:lumOff val="100000"/>
                  </a:schemeClr>
                </a:gs>
                <a:gs pos="100000">
                  <a:schemeClr val="tx1"/>
                </a:gs>
              </a:gsLst>
              <a:path path="circle">
                <a:fillToRect l="50000" t="-80000" r="50000" b="18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9F002F32-A303-A896-74CA-AEBA5BADE434}"/>
              </a:ext>
            </a:extLst>
          </p:cNvPr>
          <p:cNvSpPr txBox="1"/>
          <p:nvPr/>
        </p:nvSpPr>
        <p:spPr>
          <a:xfrm>
            <a:off x="2841522" y="299386"/>
            <a:ext cx="6096000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Who must be certified?</a:t>
            </a:r>
            <a:endParaRPr kumimoji="0" lang="en-ZA" sz="5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 panose="020F0302020204030204"/>
              <a:ea typeface="+mn-ea"/>
              <a:cs typeface="Arial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0322FCF-EEB0-7270-0D78-D07C25C57929}"/>
              </a:ext>
            </a:extLst>
          </p:cNvPr>
          <p:cNvSpPr>
            <a:spLocks noChangeAspect="1"/>
          </p:cNvSpPr>
          <p:nvPr/>
        </p:nvSpPr>
        <p:spPr>
          <a:xfrm>
            <a:off x="4733974" y="3852440"/>
            <a:ext cx="618921" cy="61892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3200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8487D84-AFEB-7563-79EC-1D897C51C440}"/>
              </a:ext>
            </a:extLst>
          </p:cNvPr>
          <p:cNvSpPr>
            <a:spLocks noChangeAspect="1"/>
          </p:cNvSpPr>
          <p:nvPr/>
        </p:nvSpPr>
        <p:spPr>
          <a:xfrm>
            <a:off x="8479947" y="5848663"/>
            <a:ext cx="519477" cy="51947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32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102284A-9769-1E95-7789-9B978686DFC1}"/>
              </a:ext>
            </a:extLst>
          </p:cNvPr>
          <p:cNvSpPr>
            <a:spLocks noChangeAspect="1"/>
          </p:cNvSpPr>
          <p:nvPr/>
        </p:nvSpPr>
        <p:spPr>
          <a:xfrm>
            <a:off x="1357895" y="5035413"/>
            <a:ext cx="755704" cy="75570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32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2" name="Picture 1" descr="dang ppt cont bot.png">
            <a:extLst>
              <a:ext uri="{FF2B5EF4-FFF2-40B4-BE49-F238E27FC236}">
                <a16:creationId xmlns:a16="http://schemas.microsoft.com/office/drawing/2014/main" id="{25006E6F-3196-43F7-AAFE-5D6FBDD0029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34228"/>
            <a:ext cx="12192000" cy="69092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FECCCB9-83DE-F3F8-F5C6-E5D52A65AAC0}"/>
              </a:ext>
            </a:extLst>
          </p:cNvPr>
          <p:cNvSpPr txBox="1"/>
          <p:nvPr/>
        </p:nvSpPr>
        <p:spPr>
          <a:xfrm>
            <a:off x="2654709" y="6398464"/>
            <a:ext cx="6096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Regulation 92.01. 47</a:t>
            </a: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4A51BB4-DB6C-75BF-786A-E235EB67F4B8}"/>
              </a:ext>
            </a:extLst>
          </p:cNvPr>
          <p:cNvSpPr txBox="1"/>
          <p:nvPr/>
        </p:nvSpPr>
        <p:spPr>
          <a:xfrm>
            <a:off x="565716" y="256229"/>
            <a:ext cx="182352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ko-KR" sz="2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Dangerous Goods 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ko-KR" sz="2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ir Cargo</a:t>
            </a:r>
            <a:endParaRPr kumimoji="0" lang="ko-KR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pic>
        <p:nvPicPr>
          <p:cNvPr id="21" name="Picture 20" descr="dang ppt cont top 2.png">
            <a:extLst>
              <a:ext uri="{FF2B5EF4-FFF2-40B4-BE49-F238E27FC236}">
                <a16:creationId xmlns:a16="http://schemas.microsoft.com/office/drawing/2014/main" id="{B70E2884-8FF4-FABE-45BD-5AFC7F7ACA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8215" y="158993"/>
            <a:ext cx="990600" cy="11490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3133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7" grpId="0" animBg="1"/>
      <p:bldP spid="3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D6E36405-963D-DFBF-8AF5-F2BEB3BCB139}"/>
              </a:ext>
            </a:extLst>
          </p:cNvPr>
          <p:cNvGraphicFramePr>
            <a:graphicFrameLocks noGrp="1"/>
          </p:cNvGraphicFramePr>
          <p:nvPr/>
        </p:nvGraphicFramePr>
        <p:xfrm>
          <a:off x="533400" y="1229625"/>
          <a:ext cx="10287000" cy="5045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10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6510">
                <a:tc>
                  <a:txBody>
                    <a:bodyPr/>
                    <a:lstStyle/>
                    <a:p>
                      <a:r>
                        <a:rPr lang="en-ZA" sz="1800" dirty="0"/>
                        <a:t>Old </a:t>
                      </a: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New</a:t>
                      </a:r>
                    </a:p>
                  </a:txBody>
                  <a:tcPr marT="45728" marB="4572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1647">
                <a:tc>
                  <a:txBody>
                    <a:bodyPr/>
                    <a:lstStyle/>
                    <a:p>
                      <a:r>
                        <a:rPr lang="en-ZA" sz="1800" dirty="0"/>
                        <a:t>Job title-based Table 1.5.A and 1.5.B</a:t>
                      </a: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Competency Based with well-defined functions</a:t>
                      </a:r>
                    </a:p>
                    <a:p>
                      <a:r>
                        <a:rPr lang="en-ZA" sz="1800" dirty="0"/>
                        <a:t>New guidance required </a:t>
                      </a:r>
                    </a:p>
                  </a:txBody>
                  <a:tcPr marT="45728" marB="4572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02352">
                <a:tc>
                  <a:txBody>
                    <a:bodyPr/>
                    <a:lstStyle/>
                    <a:p>
                      <a:r>
                        <a:rPr lang="en-ZA" sz="1800" dirty="0"/>
                        <a:t>Legal Basis- Part 92, CATS, Technical Instructions –IATA DGR</a:t>
                      </a: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Amendment of regulations to reflect the same chang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800" dirty="0"/>
                        <a:t>Consider DOC 10147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800" dirty="0"/>
                        <a:t>Also check IATA  guidance</a:t>
                      </a:r>
                    </a:p>
                  </a:txBody>
                  <a:tcPr marT="45728" marB="4572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2352">
                <a:tc>
                  <a:txBody>
                    <a:bodyPr/>
                    <a:lstStyle/>
                    <a:p>
                      <a:r>
                        <a:rPr lang="en-ZA" sz="1800" dirty="0"/>
                        <a:t>Training Programme- Operations Manual,</a:t>
                      </a:r>
                    </a:p>
                    <a:p>
                      <a:r>
                        <a:rPr lang="en-ZA" sz="1800" dirty="0"/>
                        <a:t>Training Procedures Manual, Procedures Manual</a:t>
                      </a: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Develop guidance to assist industry to comply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800" dirty="0"/>
                        <a:t>CBTA training programmes must be develop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800" dirty="0"/>
                        <a:t>Training Manuals must be aligned to CBTA</a:t>
                      </a:r>
                    </a:p>
                  </a:txBody>
                  <a:tcPr marT="45728" marB="4572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29867">
                <a:tc>
                  <a:txBody>
                    <a:bodyPr/>
                    <a:lstStyle/>
                    <a:p>
                      <a:r>
                        <a:rPr lang="en-ZA" sz="1800" dirty="0"/>
                        <a:t>Knowledge based assessments</a:t>
                      </a: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Addition of practical /on the job assessment</a:t>
                      </a:r>
                    </a:p>
                    <a:p>
                      <a:r>
                        <a:rPr lang="en-ZA" sz="1800" dirty="0"/>
                        <a:t>On the Job assessment – programme and assessors</a:t>
                      </a:r>
                    </a:p>
                  </a:txBody>
                  <a:tcPr marT="45728" marB="45728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02352">
                <a:tc>
                  <a:txBody>
                    <a:bodyPr/>
                    <a:lstStyle/>
                    <a:p>
                      <a:r>
                        <a:rPr lang="en-ZA" sz="1800" dirty="0"/>
                        <a:t>CAA approved Instructors /Category 6 </a:t>
                      </a: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CAA approved Instructors/ advanced proficiency – requires hands on –on the job experience for functions being trained</a:t>
                      </a:r>
                    </a:p>
                  </a:txBody>
                  <a:tcPr marT="45728" marB="45728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11B6D26-CCAE-D5A7-0641-5AAD49AC0833}"/>
              </a:ext>
            </a:extLst>
          </p:cNvPr>
          <p:cNvSpPr txBox="1"/>
          <p:nvPr/>
        </p:nvSpPr>
        <p:spPr>
          <a:xfrm>
            <a:off x="2514600" y="58329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ulatory considerations</a:t>
            </a:r>
          </a:p>
        </p:txBody>
      </p:sp>
    </p:spTree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Freeform 15">
            <a:extLst>
              <a:ext uri="{FF2B5EF4-FFF2-40B4-BE49-F238E27FC236}">
                <a16:creationId xmlns:a16="http://schemas.microsoft.com/office/drawing/2014/main" id="{53353170-0D74-46DF-EEBA-22485B0B7D35}"/>
              </a:ext>
            </a:extLst>
          </p:cNvPr>
          <p:cNvSpPr>
            <a:spLocks noEditPoints="1"/>
          </p:cNvSpPr>
          <p:nvPr/>
        </p:nvSpPr>
        <p:spPr bwMode="auto">
          <a:xfrm>
            <a:off x="1230150" y="560439"/>
            <a:ext cx="4595691" cy="5413493"/>
          </a:xfrm>
          <a:custGeom>
            <a:avLst/>
            <a:gdLst>
              <a:gd name="T0" fmla="*/ 2685 w 3729"/>
              <a:gd name="T1" fmla="*/ 507 h 4122"/>
              <a:gd name="T2" fmla="*/ 2661 w 3729"/>
              <a:gd name="T3" fmla="*/ 456 h 4122"/>
              <a:gd name="T4" fmla="*/ 1523 w 3729"/>
              <a:gd name="T5" fmla="*/ 69 h 4122"/>
              <a:gd name="T6" fmla="*/ 1572 w 3729"/>
              <a:gd name="T7" fmla="*/ 238 h 4122"/>
              <a:gd name="T8" fmla="*/ 1783 w 3729"/>
              <a:gd name="T9" fmla="*/ 335 h 4122"/>
              <a:gd name="T10" fmla="*/ 1951 w 3729"/>
              <a:gd name="T11" fmla="*/ 400 h 4122"/>
              <a:gd name="T12" fmla="*/ 2009 w 3729"/>
              <a:gd name="T13" fmla="*/ 278 h 4122"/>
              <a:gd name="T14" fmla="*/ 2176 w 3729"/>
              <a:gd name="T15" fmla="*/ 295 h 4122"/>
              <a:gd name="T16" fmla="*/ 2416 w 3729"/>
              <a:gd name="T17" fmla="*/ 362 h 4122"/>
              <a:gd name="T18" fmla="*/ 2612 w 3729"/>
              <a:gd name="T19" fmla="*/ 347 h 4122"/>
              <a:gd name="T20" fmla="*/ 2780 w 3729"/>
              <a:gd name="T21" fmla="*/ 509 h 4122"/>
              <a:gd name="T22" fmla="*/ 2772 w 3729"/>
              <a:gd name="T23" fmla="*/ 662 h 4122"/>
              <a:gd name="T24" fmla="*/ 2863 w 3729"/>
              <a:gd name="T25" fmla="*/ 831 h 4122"/>
              <a:gd name="T26" fmla="*/ 2949 w 3729"/>
              <a:gd name="T27" fmla="*/ 1031 h 4122"/>
              <a:gd name="T28" fmla="*/ 3078 w 3729"/>
              <a:gd name="T29" fmla="*/ 1226 h 4122"/>
              <a:gd name="T30" fmla="*/ 3289 w 3729"/>
              <a:gd name="T31" fmla="*/ 1406 h 4122"/>
              <a:gd name="T32" fmla="*/ 3320 w 3729"/>
              <a:gd name="T33" fmla="*/ 1506 h 4122"/>
              <a:gd name="T34" fmla="*/ 3552 w 3729"/>
              <a:gd name="T35" fmla="*/ 1486 h 4122"/>
              <a:gd name="T36" fmla="*/ 3725 w 3729"/>
              <a:gd name="T37" fmla="*/ 1511 h 4122"/>
              <a:gd name="T38" fmla="*/ 3672 w 3729"/>
              <a:gd name="T39" fmla="*/ 1675 h 4122"/>
              <a:gd name="T40" fmla="*/ 3612 w 3729"/>
              <a:gd name="T41" fmla="*/ 1811 h 4122"/>
              <a:gd name="T42" fmla="*/ 3460 w 3729"/>
              <a:gd name="T43" fmla="*/ 1998 h 4122"/>
              <a:gd name="T44" fmla="*/ 3252 w 3729"/>
              <a:gd name="T45" fmla="*/ 2178 h 4122"/>
              <a:gd name="T46" fmla="*/ 3083 w 3729"/>
              <a:gd name="T47" fmla="*/ 2411 h 4122"/>
              <a:gd name="T48" fmla="*/ 3154 w 3729"/>
              <a:gd name="T49" fmla="*/ 2731 h 4122"/>
              <a:gd name="T50" fmla="*/ 3152 w 3729"/>
              <a:gd name="T51" fmla="*/ 3018 h 4122"/>
              <a:gd name="T52" fmla="*/ 2923 w 3729"/>
              <a:gd name="T53" fmla="*/ 3191 h 4122"/>
              <a:gd name="T54" fmla="*/ 2840 w 3729"/>
              <a:gd name="T55" fmla="*/ 3315 h 4122"/>
              <a:gd name="T56" fmla="*/ 2849 w 3729"/>
              <a:gd name="T57" fmla="*/ 3515 h 4122"/>
              <a:gd name="T58" fmla="*/ 2712 w 3729"/>
              <a:gd name="T59" fmla="*/ 3622 h 4122"/>
              <a:gd name="T60" fmla="*/ 2623 w 3729"/>
              <a:gd name="T61" fmla="*/ 3811 h 4122"/>
              <a:gd name="T62" fmla="*/ 2440 w 3729"/>
              <a:gd name="T63" fmla="*/ 4009 h 4122"/>
              <a:gd name="T64" fmla="*/ 2203 w 3729"/>
              <a:gd name="T65" fmla="*/ 4073 h 4122"/>
              <a:gd name="T66" fmla="*/ 1967 w 3729"/>
              <a:gd name="T67" fmla="*/ 4102 h 4122"/>
              <a:gd name="T68" fmla="*/ 1892 w 3729"/>
              <a:gd name="T69" fmla="*/ 3989 h 4122"/>
              <a:gd name="T70" fmla="*/ 1849 w 3729"/>
              <a:gd name="T71" fmla="*/ 3802 h 4122"/>
              <a:gd name="T72" fmla="*/ 1740 w 3729"/>
              <a:gd name="T73" fmla="*/ 3606 h 4122"/>
              <a:gd name="T74" fmla="*/ 1689 w 3729"/>
              <a:gd name="T75" fmla="*/ 3366 h 4122"/>
              <a:gd name="T76" fmla="*/ 1583 w 3729"/>
              <a:gd name="T77" fmla="*/ 3175 h 4122"/>
              <a:gd name="T78" fmla="*/ 1609 w 3729"/>
              <a:gd name="T79" fmla="*/ 2911 h 4122"/>
              <a:gd name="T80" fmla="*/ 1656 w 3729"/>
              <a:gd name="T81" fmla="*/ 2706 h 4122"/>
              <a:gd name="T82" fmla="*/ 1589 w 3729"/>
              <a:gd name="T83" fmla="*/ 2426 h 4122"/>
              <a:gd name="T84" fmla="*/ 1429 w 3729"/>
              <a:gd name="T85" fmla="*/ 2218 h 4122"/>
              <a:gd name="T86" fmla="*/ 1463 w 3729"/>
              <a:gd name="T87" fmla="*/ 1969 h 4122"/>
              <a:gd name="T88" fmla="*/ 1256 w 3729"/>
              <a:gd name="T89" fmla="*/ 1898 h 4122"/>
              <a:gd name="T90" fmla="*/ 1003 w 3729"/>
              <a:gd name="T91" fmla="*/ 1809 h 4122"/>
              <a:gd name="T92" fmla="*/ 736 w 3729"/>
              <a:gd name="T93" fmla="*/ 1842 h 4122"/>
              <a:gd name="T94" fmla="*/ 509 w 3729"/>
              <a:gd name="T95" fmla="*/ 1889 h 4122"/>
              <a:gd name="T96" fmla="*/ 300 w 3729"/>
              <a:gd name="T97" fmla="*/ 1742 h 4122"/>
              <a:gd name="T98" fmla="*/ 209 w 3729"/>
              <a:gd name="T99" fmla="*/ 1615 h 4122"/>
              <a:gd name="T100" fmla="*/ 105 w 3729"/>
              <a:gd name="T101" fmla="*/ 1475 h 4122"/>
              <a:gd name="T102" fmla="*/ 34 w 3729"/>
              <a:gd name="T103" fmla="*/ 1347 h 4122"/>
              <a:gd name="T104" fmla="*/ 72 w 3729"/>
              <a:gd name="T105" fmla="*/ 1066 h 4122"/>
              <a:gd name="T106" fmla="*/ 69 w 3729"/>
              <a:gd name="T107" fmla="*/ 831 h 4122"/>
              <a:gd name="T108" fmla="*/ 180 w 3729"/>
              <a:gd name="T109" fmla="*/ 629 h 4122"/>
              <a:gd name="T110" fmla="*/ 280 w 3729"/>
              <a:gd name="T111" fmla="*/ 531 h 4122"/>
              <a:gd name="T112" fmla="*/ 529 w 3729"/>
              <a:gd name="T113" fmla="*/ 222 h 4122"/>
              <a:gd name="T114" fmla="*/ 643 w 3729"/>
              <a:gd name="T115" fmla="*/ 122 h 4122"/>
              <a:gd name="T116" fmla="*/ 829 w 3729"/>
              <a:gd name="T117" fmla="*/ 111 h 4122"/>
              <a:gd name="T118" fmla="*/ 1023 w 3729"/>
              <a:gd name="T119" fmla="*/ 51 h 4122"/>
              <a:gd name="T120" fmla="*/ 1380 w 3729"/>
              <a:gd name="T121" fmla="*/ 26 h 4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29" h="4122">
                <a:moveTo>
                  <a:pt x="2732" y="555"/>
                </a:moveTo>
                <a:lnTo>
                  <a:pt x="2736" y="558"/>
                </a:lnTo>
                <a:lnTo>
                  <a:pt x="2738" y="560"/>
                </a:lnTo>
                <a:lnTo>
                  <a:pt x="2740" y="562"/>
                </a:lnTo>
                <a:lnTo>
                  <a:pt x="2740" y="562"/>
                </a:lnTo>
                <a:lnTo>
                  <a:pt x="2740" y="562"/>
                </a:lnTo>
                <a:lnTo>
                  <a:pt x="2740" y="560"/>
                </a:lnTo>
                <a:lnTo>
                  <a:pt x="2740" y="558"/>
                </a:lnTo>
                <a:lnTo>
                  <a:pt x="2736" y="556"/>
                </a:lnTo>
                <a:lnTo>
                  <a:pt x="2734" y="555"/>
                </a:lnTo>
                <a:lnTo>
                  <a:pt x="2732" y="555"/>
                </a:lnTo>
                <a:close/>
                <a:moveTo>
                  <a:pt x="2703" y="531"/>
                </a:moveTo>
                <a:lnTo>
                  <a:pt x="2723" y="555"/>
                </a:lnTo>
                <a:lnTo>
                  <a:pt x="2729" y="555"/>
                </a:lnTo>
                <a:lnTo>
                  <a:pt x="2723" y="547"/>
                </a:lnTo>
                <a:lnTo>
                  <a:pt x="2718" y="540"/>
                </a:lnTo>
                <a:lnTo>
                  <a:pt x="2711" y="535"/>
                </a:lnTo>
                <a:lnTo>
                  <a:pt x="2703" y="531"/>
                </a:lnTo>
                <a:close/>
                <a:moveTo>
                  <a:pt x="2672" y="478"/>
                </a:moveTo>
                <a:lnTo>
                  <a:pt x="2672" y="495"/>
                </a:lnTo>
                <a:lnTo>
                  <a:pt x="2680" y="495"/>
                </a:lnTo>
                <a:lnTo>
                  <a:pt x="2681" y="502"/>
                </a:lnTo>
                <a:lnTo>
                  <a:pt x="2685" y="507"/>
                </a:lnTo>
                <a:lnTo>
                  <a:pt x="2689" y="513"/>
                </a:lnTo>
                <a:lnTo>
                  <a:pt x="2692" y="518"/>
                </a:lnTo>
                <a:lnTo>
                  <a:pt x="2696" y="518"/>
                </a:lnTo>
                <a:lnTo>
                  <a:pt x="2696" y="502"/>
                </a:lnTo>
                <a:lnTo>
                  <a:pt x="2692" y="500"/>
                </a:lnTo>
                <a:lnTo>
                  <a:pt x="2689" y="498"/>
                </a:lnTo>
                <a:lnTo>
                  <a:pt x="2687" y="495"/>
                </a:lnTo>
                <a:lnTo>
                  <a:pt x="2685" y="491"/>
                </a:lnTo>
                <a:lnTo>
                  <a:pt x="2683" y="486"/>
                </a:lnTo>
                <a:lnTo>
                  <a:pt x="2676" y="486"/>
                </a:lnTo>
                <a:lnTo>
                  <a:pt x="2676" y="478"/>
                </a:lnTo>
                <a:lnTo>
                  <a:pt x="2672" y="478"/>
                </a:lnTo>
                <a:close/>
                <a:moveTo>
                  <a:pt x="2656" y="455"/>
                </a:moveTo>
                <a:lnTo>
                  <a:pt x="2660" y="458"/>
                </a:lnTo>
                <a:lnTo>
                  <a:pt x="2661" y="462"/>
                </a:lnTo>
                <a:lnTo>
                  <a:pt x="2663" y="464"/>
                </a:lnTo>
                <a:lnTo>
                  <a:pt x="2667" y="469"/>
                </a:lnTo>
                <a:lnTo>
                  <a:pt x="2669" y="475"/>
                </a:lnTo>
                <a:lnTo>
                  <a:pt x="2672" y="475"/>
                </a:lnTo>
                <a:lnTo>
                  <a:pt x="2671" y="467"/>
                </a:lnTo>
                <a:lnTo>
                  <a:pt x="2669" y="462"/>
                </a:lnTo>
                <a:lnTo>
                  <a:pt x="2667" y="458"/>
                </a:lnTo>
                <a:lnTo>
                  <a:pt x="2661" y="456"/>
                </a:lnTo>
                <a:lnTo>
                  <a:pt x="2656" y="455"/>
                </a:lnTo>
                <a:close/>
                <a:moveTo>
                  <a:pt x="1469" y="0"/>
                </a:moveTo>
                <a:lnTo>
                  <a:pt x="1480" y="2"/>
                </a:lnTo>
                <a:lnTo>
                  <a:pt x="1480" y="6"/>
                </a:lnTo>
                <a:lnTo>
                  <a:pt x="1485" y="7"/>
                </a:lnTo>
                <a:lnTo>
                  <a:pt x="1489" y="9"/>
                </a:lnTo>
                <a:lnTo>
                  <a:pt x="1494" y="9"/>
                </a:lnTo>
                <a:lnTo>
                  <a:pt x="1500" y="9"/>
                </a:lnTo>
                <a:lnTo>
                  <a:pt x="1500" y="29"/>
                </a:lnTo>
                <a:lnTo>
                  <a:pt x="1511" y="27"/>
                </a:lnTo>
                <a:lnTo>
                  <a:pt x="1518" y="24"/>
                </a:lnTo>
                <a:lnTo>
                  <a:pt x="1527" y="20"/>
                </a:lnTo>
                <a:lnTo>
                  <a:pt x="1540" y="18"/>
                </a:lnTo>
                <a:lnTo>
                  <a:pt x="1543" y="27"/>
                </a:lnTo>
                <a:lnTo>
                  <a:pt x="1545" y="42"/>
                </a:lnTo>
                <a:lnTo>
                  <a:pt x="1543" y="55"/>
                </a:lnTo>
                <a:lnTo>
                  <a:pt x="1540" y="55"/>
                </a:lnTo>
                <a:lnTo>
                  <a:pt x="1538" y="58"/>
                </a:lnTo>
                <a:lnTo>
                  <a:pt x="1536" y="60"/>
                </a:lnTo>
                <a:lnTo>
                  <a:pt x="1534" y="62"/>
                </a:lnTo>
                <a:lnTo>
                  <a:pt x="1534" y="66"/>
                </a:lnTo>
                <a:lnTo>
                  <a:pt x="1532" y="69"/>
                </a:lnTo>
                <a:lnTo>
                  <a:pt x="1523" y="69"/>
                </a:lnTo>
                <a:lnTo>
                  <a:pt x="1523" y="75"/>
                </a:lnTo>
                <a:lnTo>
                  <a:pt x="1521" y="76"/>
                </a:lnTo>
                <a:lnTo>
                  <a:pt x="1521" y="80"/>
                </a:lnTo>
                <a:lnTo>
                  <a:pt x="1520" y="86"/>
                </a:lnTo>
                <a:lnTo>
                  <a:pt x="1534" y="96"/>
                </a:lnTo>
                <a:lnTo>
                  <a:pt x="1541" y="111"/>
                </a:lnTo>
                <a:lnTo>
                  <a:pt x="1545" y="129"/>
                </a:lnTo>
                <a:lnTo>
                  <a:pt x="1543" y="155"/>
                </a:lnTo>
                <a:lnTo>
                  <a:pt x="1516" y="178"/>
                </a:lnTo>
                <a:lnTo>
                  <a:pt x="1512" y="186"/>
                </a:lnTo>
                <a:lnTo>
                  <a:pt x="1503" y="186"/>
                </a:lnTo>
                <a:lnTo>
                  <a:pt x="1503" y="191"/>
                </a:lnTo>
                <a:lnTo>
                  <a:pt x="1492" y="195"/>
                </a:lnTo>
                <a:lnTo>
                  <a:pt x="1496" y="202"/>
                </a:lnTo>
                <a:lnTo>
                  <a:pt x="1509" y="206"/>
                </a:lnTo>
                <a:lnTo>
                  <a:pt x="1514" y="200"/>
                </a:lnTo>
                <a:lnTo>
                  <a:pt x="1523" y="198"/>
                </a:lnTo>
                <a:lnTo>
                  <a:pt x="1532" y="200"/>
                </a:lnTo>
                <a:lnTo>
                  <a:pt x="1543" y="202"/>
                </a:lnTo>
                <a:lnTo>
                  <a:pt x="1549" y="229"/>
                </a:lnTo>
                <a:lnTo>
                  <a:pt x="1560" y="235"/>
                </a:lnTo>
                <a:lnTo>
                  <a:pt x="1560" y="238"/>
                </a:lnTo>
                <a:lnTo>
                  <a:pt x="1572" y="238"/>
                </a:lnTo>
                <a:lnTo>
                  <a:pt x="1572" y="242"/>
                </a:lnTo>
                <a:lnTo>
                  <a:pt x="1589" y="242"/>
                </a:lnTo>
                <a:lnTo>
                  <a:pt x="1592" y="251"/>
                </a:lnTo>
                <a:lnTo>
                  <a:pt x="1600" y="251"/>
                </a:lnTo>
                <a:lnTo>
                  <a:pt x="1600" y="255"/>
                </a:lnTo>
                <a:lnTo>
                  <a:pt x="1609" y="255"/>
                </a:lnTo>
                <a:lnTo>
                  <a:pt x="1609" y="258"/>
                </a:lnTo>
                <a:lnTo>
                  <a:pt x="1660" y="255"/>
                </a:lnTo>
                <a:lnTo>
                  <a:pt x="1660" y="258"/>
                </a:lnTo>
                <a:lnTo>
                  <a:pt x="1680" y="258"/>
                </a:lnTo>
                <a:lnTo>
                  <a:pt x="1680" y="262"/>
                </a:lnTo>
                <a:lnTo>
                  <a:pt x="1700" y="262"/>
                </a:lnTo>
                <a:lnTo>
                  <a:pt x="1700" y="266"/>
                </a:lnTo>
                <a:lnTo>
                  <a:pt x="1709" y="266"/>
                </a:lnTo>
                <a:lnTo>
                  <a:pt x="1712" y="275"/>
                </a:lnTo>
                <a:lnTo>
                  <a:pt x="1720" y="275"/>
                </a:lnTo>
                <a:lnTo>
                  <a:pt x="1720" y="278"/>
                </a:lnTo>
                <a:lnTo>
                  <a:pt x="1752" y="278"/>
                </a:lnTo>
                <a:lnTo>
                  <a:pt x="1756" y="286"/>
                </a:lnTo>
                <a:lnTo>
                  <a:pt x="1763" y="286"/>
                </a:lnTo>
                <a:lnTo>
                  <a:pt x="1769" y="322"/>
                </a:lnTo>
                <a:lnTo>
                  <a:pt x="1778" y="329"/>
                </a:lnTo>
                <a:lnTo>
                  <a:pt x="1783" y="335"/>
                </a:lnTo>
                <a:lnTo>
                  <a:pt x="1789" y="340"/>
                </a:lnTo>
                <a:lnTo>
                  <a:pt x="1796" y="344"/>
                </a:lnTo>
                <a:lnTo>
                  <a:pt x="1807" y="346"/>
                </a:lnTo>
                <a:lnTo>
                  <a:pt x="1823" y="346"/>
                </a:lnTo>
                <a:lnTo>
                  <a:pt x="1836" y="351"/>
                </a:lnTo>
                <a:lnTo>
                  <a:pt x="1849" y="351"/>
                </a:lnTo>
                <a:lnTo>
                  <a:pt x="1863" y="355"/>
                </a:lnTo>
                <a:lnTo>
                  <a:pt x="1863" y="358"/>
                </a:lnTo>
                <a:lnTo>
                  <a:pt x="1880" y="358"/>
                </a:lnTo>
                <a:lnTo>
                  <a:pt x="1883" y="366"/>
                </a:lnTo>
                <a:lnTo>
                  <a:pt x="1896" y="366"/>
                </a:lnTo>
                <a:lnTo>
                  <a:pt x="1896" y="369"/>
                </a:lnTo>
                <a:lnTo>
                  <a:pt x="1903" y="369"/>
                </a:lnTo>
                <a:lnTo>
                  <a:pt x="1903" y="375"/>
                </a:lnTo>
                <a:lnTo>
                  <a:pt x="1916" y="375"/>
                </a:lnTo>
                <a:lnTo>
                  <a:pt x="1920" y="382"/>
                </a:lnTo>
                <a:lnTo>
                  <a:pt x="1929" y="382"/>
                </a:lnTo>
                <a:lnTo>
                  <a:pt x="1932" y="391"/>
                </a:lnTo>
                <a:lnTo>
                  <a:pt x="1934" y="391"/>
                </a:lnTo>
                <a:lnTo>
                  <a:pt x="1938" y="393"/>
                </a:lnTo>
                <a:lnTo>
                  <a:pt x="1941" y="396"/>
                </a:lnTo>
                <a:lnTo>
                  <a:pt x="1945" y="398"/>
                </a:lnTo>
                <a:lnTo>
                  <a:pt x="1951" y="400"/>
                </a:lnTo>
                <a:lnTo>
                  <a:pt x="1954" y="402"/>
                </a:lnTo>
                <a:lnTo>
                  <a:pt x="1956" y="402"/>
                </a:lnTo>
                <a:lnTo>
                  <a:pt x="1956" y="398"/>
                </a:lnTo>
                <a:lnTo>
                  <a:pt x="1969" y="398"/>
                </a:lnTo>
                <a:lnTo>
                  <a:pt x="1972" y="393"/>
                </a:lnTo>
                <a:lnTo>
                  <a:pt x="1976" y="389"/>
                </a:lnTo>
                <a:lnTo>
                  <a:pt x="1980" y="386"/>
                </a:lnTo>
                <a:lnTo>
                  <a:pt x="1983" y="382"/>
                </a:lnTo>
                <a:lnTo>
                  <a:pt x="1985" y="376"/>
                </a:lnTo>
                <a:lnTo>
                  <a:pt x="1989" y="369"/>
                </a:lnTo>
                <a:lnTo>
                  <a:pt x="1989" y="369"/>
                </a:lnTo>
                <a:lnTo>
                  <a:pt x="1991" y="367"/>
                </a:lnTo>
                <a:lnTo>
                  <a:pt x="1992" y="367"/>
                </a:lnTo>
                <a:lnTo>
                  <a:pt x="1992" y="366"/>
                </a:lnTo>
                <a:lnTo>
                  <a:pt x="1992" y="362"/>
                </a:lnTo>
                <a:lnTo>
                  <a:pt x="1992" y="358"/>
                </a:lnTo>
                <a:lnTo>
                  <a:pt x="1989" y="358"/>
                </a:lnTo>
                <a:lnTo>
                  <a:pt x="1989" y="349"/>
                </a:lnTo>
                <a:lnTo>
                  <a:pt x="1983" y="349"/>
                </a:lnTo>
                <a:lnTo>
                  <a:pt x="1981" y="331"/>
                </a:lnTo>
                <a:lnTo>
                  <a:pt x="1985" y="311"/>
                </a:lnTo>
                <a:lnTo>
                  <a:pt x="1989" y="295"/>
                </a:lnTo>
                <a:lnTo>
                  <a:pt x="2009" y="278"/>
                </a:lnTo>
                <a:lnTo>
                  <a:pt x="2009" y="275"/>
                </a:lnTo>
                <a:lnTo>
                  <a:pt x="2023" y="271"/>
                </a:lnTo>
                <a:lnTo>
                  <a:pt x="2029" y="262"/>
                </a:lnTo>
                <a:lnTo>
                  <a:pt x="2056" y="262"/>
                </a:lnTo>
                <a:lnTo>
                  <a:pt x="2063" y="251"/>
                </a:lnTo>
                <a:lnTo>
                  <a:pt x="2112" y="251"/>
                </a:lnTo>
                <a:lnTo>
                  <a:pt x="2112" y="255"/>
                </a:lnTo>
                <a:lnTo>
                  <a:pt x="2123" y="255"/>
                </a:lnTo>
                <a:lnTo>
                  <a:pt x="2123" y="258"/>
                </a:lnTo>
                <a:lnTo>
                  <a:pt x="2132" y="258"/>
                </a:lnTo>
                <a:lnTo>
                  <a:pt x="2132" y="262"/>
                </a:lnTo>
                <a:lnTo>
                  <a:pt x="2160" y="262"/>
                </a:lnTo>
                <a:lnTo>
                  <a:pt x="2160" y="266"/>
                </a:lnTo>
                <a:lnTo>
                  <a:pt x="2163" y="271"/>
                </a:lnTo>
                <a:lnTo>
                  <a:pt x="2163" y="273"/>
                </a:lnTo>
                <a:lnTo>
                  <a:pt x="2165" y="276"/>
                </a:lnTo>
                <a:lnTo>
                  <a:pt x="2163" y="280"/>
                </a:lnTo>
                <a:lnTo>
                  <a:pt x="2163" y="282"/>
                </a:lnTo>
                <a:lnTo>
                  <a:pt x="2165" y="284"/>
                </a:lnTo>
                <a:lnTo>
                  <a:pt x="2167" y="286"/>
                </a:lnTo>
                <a:lnTo>
                  <a:pt x="2171" y="287"/>
                </a:lnTo>
                <a:lnTo>
                  <a:pt x="2176" y="289"/>
                </a:lnTo>
                <a:lnTo>
                  <a:pt x="2176" y="295"/>
                </a:lnTo>
                <a:lnTo>
                  <a:pt x="2203" y="295"/>
                </a:lnTo>
                <a:lnTo>
                  <a:pt x="2203" y="298"/>
                </a:lnTo>
                <a:lnTo>
                  <a:pt x="2220" y="302"/>
                </a:lnTo>
                <a:lnTo>
                  <a:pt x="2220" y="306"/>
                </a:lnTo>
                <a:lnTo>
                  <a:pt x="2223" y="306"/>
                </a:lnTo>
                <a:lnTo>
                  <a:pt x="2225" y="306"/>
                </a:lnTo>
                <a:lnTo>
                  <a:pt x="2227" y="304"/>
                </a:lnTo>
                <a:lnTo>
                  <a:pt x="2227" y="302"/>
                </a:lnTo>
                <a:lnTo>
                  <a:pt x="2229" y="302"/>
                </a:lnTo>
                <a:lnTo>
                  <a:pt x="2243" y="302"/>
                </a:lnTo>
                <a:lnTo>
                  <a:pt x="2256" y="306"/>
                </a:lnTo>
                <a:lnTo>
                  <a:pt x="2269" y="309"/>
                </a:lnTo>
                <a:lnTo>
                  <a:pt x="2272" y="342"/>
                </a:lnTo>
                <a:lnTo>
                  <a:pt x="2296" y="346"/>
                </a:lnTo>
                <a:lnTo>
                  <a:pt x="2305" y="344"/>
                </a:lnTo>
                <a:lnTo>
                  <a:pt x="2318" y="342"/>
                </a:lnTo>
                <a:lnTo>
                  <a:pt x="2332" y="342"/>
                </a:lnTo>
                <a:lnTo>
                  <a:pt x="2332" y="346"/>
                </a:lnTo>
                <a:lnTo>
                  <a:pt x="2369" y="349"/>
                </a:lnTo>
                <a:lnTo>
                  <a:pt x="2369" y="355"/>
                </a:lnTo>
                <a:lnTo>
                  <a:pt x="2389" y="355"/>
                </a:lnTo>
                <a:lnTo>
                  <a:pt x="2392" y="362"/>
                </a:lnTo>
                <a:lnTo>
                  <a:pt x="2416" y="362"/>
                </a:lnTo>
                <a:lnTo>
                  <a:pt x="2416" y="366"/>
                </a:lnTo>
                <a:lnTo>
                  <a:pt x="2429" y="369"/>
                </a:lnTo>
                <a:lnTo>
                  <a:pt x="2449" y="369"/>
                </a:lnTo>
                <a:lnTo>
                  <a:pt x="2456" y="375"/>
                </a:lnTo>
                <a:lnTo>
                  <a:pt x="2467" y="380"/>
                </a:lnTo>
                <a:lnTo>
                  <a:pt x="2480" y="384"/>
                </a:lnTo>
                <a:lnTo>
                  <a:pt x="2492" y="382"/>
                </a:lnTo>
                <a:lnTo>
                  <a:pt x="2503" y="366"/>
                </a:lnTo>
                <a:lnTo>
                  <a:pt x="2536" y="358"/>
                </a:lnTo>
                <a:lnTo>
                  <a:pt x="2536" y="349"/>
                </a:lnTo>
                <a:lnTo>
                  <a:pt x="2563" y="346"/>
                </a:lnTo>
                <a:lnTo>
                  <a:pt x="2569" y="338"/>
                </a:lnTo>
                <a:lnTo>
                  <a:pt x="2572" y="336"/>
                </a:lnTo>
                <a:lnTo>
                  <a:pt x="2578" y="338"/>
                </a:lnTo>
                <a:lnTo>
                  <a:pt x="2583" y="338"/>
                </a:lnTo>
                <a:lnTo>
                  <a:pt x="2589" y="340"/>
                </a:lnTo>
                <a:lnTo>
                  <a:pt x="2592" y="340"/>
                </a:lnTo>
                <a:lnTo>
                  <a:pt x="2596" y="342"/>
                </a:lnTo>
                <a:lnTo>
                  <a:pt x="2600" y="349"/>
                </a:lnTo>
                <a:lnTo>
                  <a:pt x="2603" y="351"/>
                </a:lnTo>
                <a:lnTo>
                  <a:pt x="2607" y="349"/>
                </a:lnTo>
                <a:lnTo>
                  <a:pt x="2611" y="349"/>
                </a:lnTo>
                <a:lnTo>
                  <a:pt x="2612" y="347"/>
                </a:lnTo>
                <a:lnTo>
                  <a:pt x="2612" y="346"/>
                </a:lnTo>
                <a:lnTo>
                  <a:pt x="2616" y="346"/>
                </a:lnTo>
                <a:lnTo>
                  <a:pt x="2620" y="346"/>
                </a:lnTo>
                <a:lnTo>
                  <a:pt x="2623" y="347"/>
                </a:lnTo>
                <a:lnTo>
                  <a:pt x="2625" y="349"/>
                </a:lnTo>
                <a:lnTo>
                  <a:pt x="2629" y="349"/>
                </a:lnTo>
                <a:lnTo>
                  <a:pt x="2629" y="362"/>
                </a:lnTo>
                <a:lnTo>
                  <a:pt x="2641" y="364"/>
                </a:lnTo>
                <a:lnTo>
                  <a:pt x="2660" y="367"/>
                </a:lnTo>
                <a:lnTo>
                  <a:pt x="2681" y="369"/>
                </a:lnTo>
                <a:lnTo>
                  <a:pt x="2701" y="369"/>
                </a:lnTo>
                <a:lnTo>
                  <a:pt x="2716" y="366"/>
                </a:lnTo>
                <a:lnTo>
                  <a:pt x="2716" y="362"/>
                </a:lnTo>
                <a:lnTo>
                  <a:pt x="2743" y="358"/>
                </a:lnTo>
                <a:lnTo>
                  <a:pt x="2756" y="395"/>
                </a:lnTo>
                <a:lnTo>
                  <a:pt x="2769" y="402"/>
                </a:lnTo>
                <a:lnTo>
                  <a:pt x="2769" y="426"/>
                </a:lnTo>
                <a:lnTo>
                  <a:pt x="2776" y="429"/>
                </a:lnTo>
                <a:lnTo>
                  <a:pt x="2776" y="438"/>
                </a:lnTo>
                <a:lnTo>
                  <a:pt x="2780" y="438"/>
                </a:lnTo>
                <a:lnTo>
                  <a:pt x="2780" y="446"/>
                </a:lnTo>
                <a:lnTo>
                  <a:pt x="2783" y="446"/>
                </a:lnTo>
                <a:lnTo>
                  <a:pt x="2780" y="509"/>
                </a:lnTo>
                <a:lnTo>
                  <a:pt x="2776" y="509"/>
                </a:lnTo>
                <a:lnTo>
                  <a:pt x="2776" y="518"/>
                </a:lnTo>
                <a:lnTo>
                  <a:pt x="2772" y="518"/>
                </a:lnTo>
                <a:lnTo>
                  <a:pt x="2772" y="531"/>
                </a:lnTo>
                <a:lnTo>
                  <a:pt x="2769" y="531"/>
                </a:lnTo>
                <a:lnTo>
                  <a:pt x="2769" y="535"/>
                </a:lnTo>
                <a:lnTo>
                  <a:pt x="2772" y="535"/>
                </a:lnTo>
                <a:lnTo>
                  <a:pt x="2772" y="558"/>
                </a:lnTo>
                <a:lnTo>
                  <a:pt x="2763" y="564"/>
                </a:lnTo>
                <a:lnTo>
                  <a:pt x="2758" y="567"/>
                </a:lnTo>
                <a:lnTo>
                  <a:pt x="2752" y="569"/>
                </a:lnTo>
                <a:lnTo>
                  <a:pt x="2740" y="566"/>
                </a:lnTo>
                <a:lnTo>
                  <a:pt x="2740" y="578"/>
                </a:lnTo>
                <a:lnTo>
                  <a:pt x="2736" y="578"/>
                </a:lnTo>
                <a:lnTo>
                  <a:pt x="2736" y="582"/>
                </a:lnTo>
                <a:lnTo>
                  <a:pt x="2740" y="582"/>
                </a:lnTo>
                <a:lnTo>
                  <a:pt x="2743" y="602"/>
                </a:lnTo>
                <a:lnTo>
                  <a:pt x="2749" y="602"/>
                </a:lnTo>
                <a:lnTo>
                  <a:pt x="2749" y="615"/>
                </a:lnTo>
                <a:lnTo>
                  <a:pt x="2752" y="615"/>
                </a:lnTo>
                <a:lnTo>
                  <a:pt x="2756" y="635"/>
                </a:lnTo>
                <a:lnTo>
                  <a:pt x="2763" y="638"/>
                </a:lnTo>
                <a:lnTo>
                  <a:pt x="2772" y="662"/>
                </a:lnTo>
                <a:lnTo>
                  <a:pt x="2780" y="666"/>
                </a:lnTo>
                <a:lnTo>
                  <a:pt x="2780" y="678"/>
                </a:lnTo>
                <a:lnTo>
                  <a:pt x="2783" y="678"/>
                </a:lnTo>
                <a:lnTo>
                  <a:pt x="2783" y="686"/>
                </a:lnTo>
                <a:lnTo>
                  <a:pt x="2792" y="691"/>
                </a:lnTo>
                <a:lnTo>
                  <a:pt x="2796" y="706"/>
                </a:lnTo>
                <a:lnTo>
                  <a:pt x="2809" y="715"/>
                </a:lnTo>
                <a:lnTo>
                  <a:pt x="2816" y="738"/>
                </a:lnTo>
                <a:lnTo>
                  <a:pt x="2820" y="738"/>
                </a:lnTo>
                <a:lnTo>
                  <a:pt x="2820" y="746"/>
                </a:lnTo>
                <a:lnTo>
                  <a:pt x="2829" y="751"/>
                </a:lnTo>
                <a:lnTo>
                  <a:pt x="2849" y="775"/>
                </a:lnTo>
                <a:lnTo>
                  <a:pt x="2845" y="782"/>
                </a:lnTo>
                <a:lnTo>
                  <a:pt x="2841" y="789"/>
                </a:lnTo>
                <a:lnTo>
                  <a:pt x="2840" y="796"/>
                </a:lnTo>
                <a:lnTo>
                  <a:pt x="2840" y="806"/>
                </a:lnTo>
                <a:lnTo>
                  <a:pt x="2843" y="806"/>
                </a:lnTo>
                <a:lnTo>
                  <a:pt x="2843" y="818"/>
                </a:lnTo>
                <a:lnTo>
                  <a:pt x="2849" y="818"/>
                </a:lnTo>
                <a:lnTo>
                  <a:pt x="2852" y="822"/>
                </a:lnTo>
                <a:lnTo>
                  <a:pt x="2856" y="824"/>
                </a:lnTo>
                <a:lnTo>
                  <a:pt x="2860" y="827"/>
                </a:lnTo>
                <a:lnTo>
                  <a:pt x="2863" y="831"/>
                </a:lnTo>
                <a:lnTo>
                  <a:pt x="2869" y="838"/>
                </a:lnTo>
                <a:lnTo>
                  <a:pt x="2876" y="838"/>
                </a:lnTo>
                <a:lnTo>
                  <a:pt x="2876" y="842"/>
                </a:lnTo>
                <a:lnTo>
                  <a:pt x="2889" y="842"/>
                </a:lnTo>
                <a:lnTo>
                  <a:pt x="2889" y="844"/>
                </a:lnTo>
                <a:lnTo>
                  <a:pt x="2891" y="847"/>
                </a:lnTo>
                <a:lnTo>
                  <a:pt x="2894" y="851"/>
                </a:lnTo>
                <a:lnTo>
                  <a:pt x="2896" y="856"/>
                </a:lnTo>
                <a:lnTo>
                  <a:pt x="2900" y="860"/>
                </a:lnTo>
                <a:lnTo>
                  <a:pt x="2901" y="864"/>
                </a:lnTo>
                <a:lnTo>
                  <a:pt x="2903" y="866"/>
                </a:lnTo>
                <a:lnTo>
                  <a:pt x="2912" y="866"/>
                </a:lnTo>
                <a:lnTo>
                  <a:pt x="2916" y="875"/>
                </a:lnTo>
                <a:lnTo>
                  <a:pt x="2920" y="875"/>
                </a:lnTo>
                <a:lnTo>
                  <a:pt x="2920" y="895"/>
                </a:lnTo>
                <a:lnTo>
                  <a:pt x="2923" y="895"/>
                </a:lnTo>
                <a:lnTo>
                  <a:pt x="2932" y="918"/>
                </a:lnTo>
                <a:lnTo>
                  <a:pt x="2936" y="918"/>
                </a:lnTo>
                <a:lnTo>
                  <a:pt x="2936" y="951"/>
                </a:lnTo>
                <a:lnTo>
                  <a:pt x="2940" y="951"/>
                </a:lnTo>
                <a:lnTo>
                  <a:pt x="2940" y="958"/>
                </a:lnTo>
                <a:lnTo>
                  <a:pt x="2943" y="958"/>
                </a:lnTo>
                <a:lnTo>
                  <a:pt x="2949" y="1031"/>
                </a:lnTo>
                <a:lnTo>
                  <a:pt x="2956" y="1035"/>
                </a:lnTo>
                <a:lnTo>
                  <a:pt x="2960" y="1062"/>
                </a:lnTo>
                <a:lnTo>
                  <a:pt x="2976" y="1062"/>
                </a:lnTo>
                <a:lnTo>
                  <a:pt x="2987" y="1076"/>
                </a:lnTo>
                <a:lnTo>
                  <a:pt x="3003" y="1091"/>
                </a:lnTo>
                <a:lnTo>
                  <a:pt x="3020" y="1098"/>
                </a:lnTo>
                <a:lnTo>
                  <a:pt x="3020" y="1106"/>
                </a:lnTo>
                <a:lnTo>
                  <a:pt x="3029" y="1106"/>
                </a:lnTo>
                <a:lnTo>
                  <a:pt x="3032" y="1118"/>
                </a:lnTo>
                <a:lnTo>
                  <a:pt x="3040" y="1122"/>
                </a:lnTo>
                <a:lnTo>
                  <a:pt x="3056" y="1171"/>
                </a:lnTo>
                <a:lnTo>
                  <a:pt x="3060" y="1171"/>
                </a:lnTo>
                <a:lnTo>
                  <a:pt x="3060" y="1195"/>
                </a:lnTo>
                <a:lnTo>
                  <a:pt x="3063" y="1195"/>
                </a:lnTo>
                <a:lnTo>
                  <a:pt x="3063" y="1202"/>
                </a:lnTo>
                <a:lnTo>
                  <a:pt x="3069" y="1202"/>
                </a:lnTo>
                <a:lnTo>
                  <a:pt x="3069" y="1222"/>
                </a:lnTo>
                <a:lnTo>
                  <a:pt x="3072" y="1222"/>
                </a:lnTo>
                <a:lnTo>
                  <a:pt x="3074" y="1224"/>
                </a:lnTo>
                <a:lnTo>
                  <a:pt x="3074" y="1224"/>
                </a:lnTo>
                <a:lnTo>
                  <a:pt x="3074" y="1226"/>
                </a:lnTo>
                <a:lnTo>
                  <a:pt x="3076" y="1226"/>
                </a:lnTo>
                <a:lnTo>
                  <a:pt x="3078" y="1226"/>
                </a:lnTo>
                <a:lnTo>
                  <a:pt x="3080" y="1226"/>
                </a:lnTo>
                <a:lnTo>
                  <a:pt x="3089" y="1251"/>
                </a:lnTo>
                <a:lnTo>
                  <a:pt x="3112" y="1251"/>
                </a:lnTo>
                <a:lnTo>
                  <a:pt x="3116" y="1275"/>
                </a:lnTo>
                <a:lnTo>
                  <a:pt x="3120" y="1275"/>
                </a:lnTo>
                <a:lnTo>
                  <a:pt x="3120" y="1278"/>
                </a:lnTo>
                <a:lnTo>
                  <a:pt x="3143" y="1278"/>
                </a:lnTo>
                <a:lnTo>
                  <a:pt x="3156" y="1295"/>
                </a:lnTo>
                <a:lnTo>
                  <a:pt x="3172" y="1295"/>
                </a:lnTo>
                <a:lnTo>
                  <a:pt x="3172" y="1298"/>
                </a:lnTo>
                <a:lnTo>
                  <a:pt x="3183" y="1306"/>
                </a:lnTo>
                <a:lnTo>
                  <a:pt x="3183" y="1315"/>
                </a:lnTo>
                <a:lnTo>
                  <a:pt x="3203" y="1329"/>
                </a:lnTo>
                <a:lnTo>
                  <a:pt x="3209" y="1338"/>
                </a:lnTo>
                <a:lnTo>
                  <a:pt x="3216" y="1338"/>
                </a:lnTo>
                <a:lnTo>
                  <a:pt x="3220" y="1346"/>
                </a:lnTo>
                <a:lnTo>
                  <a:pt x="3243" y="1366"/>
                </a:lnTo>
                <a:lnTo>
                  <a:pt x="3243" y="1378"/>
                </a:lnTo>
                <a:lnTo>
                  <a:pt x="3256" y="1382"/>
                </a:lnTo>
                <a:lnTo>
                  <a:pt x="3269" y="1398"/>
                </a:lnTo>
                <a:lnTo>
                  <a:pt x="3276" y="1398"/>
                </a:lnTo>
                <a:lnTo>
                  <a:pt x="3276" y="1406"/>
                </a:lnTo>
                <a:lnTo>
                  <a:pt x="3289" y="1406"/>
                </a:lnTo>
                <a:lnTo>
                  <a:pt x="3289" y="1409"/>
                </a:lnTo>
                <a:lnTo>
                  <a:pt x="3292" y="1415"/>
                </a:lnTo>
                <a:lnTo>
                  <a:pt x="3296" y="1420"/>
                </a:lnTo>
                <a:lnTo>
                  <a:pt x="3300" y="1426"/>
                </a:lnTo>
                <a:lnTo>
                  <a:pt x="3303" y="1431"/>
                </a:lnTo>
                <a:lnTo>
                  <a:pt x="3303" y="1455"/>
                </a:lnTo>
                <a:lnTo>
                  <a:pt x="3296" y="1458"/>
                </a:lnTo>
                <a:lnTo>
                  <a:pt x="3296" y="1466"/>
                </a:lnTo>
                <a:lnTo>
                  <a:pt x="3292" y="1466"/>
                </a:lnTo>
                <a:lnTo>
                  <a:pt x="3292" y="1469"/>
                </a:lnTo>
                <a:lnTo>
                  <a:pt x="3294" y="1471"/>
                </a:lnTo>
                <a:lnTo>
                  <a:pt x="3294" y="1473"/>
                </a:lnTo>
                <a:lnTo>
                  <a:pt x="3296" y="1476"/>
                </a:lnTo>
                <a:lnTo>
                  <a:pt x="3296" y="1482"/>
                </a:lnTo>
                <a:lnTo>
                  <a:pt x="3301" y="1484"/>
                </a:lnTo>
                <a:lnTo>
                  <a:pt x="3307" y="1486"/>
                </a:lnTo>
                <a:lnTo>
                  <a:pt x="3309" y="1489"/>
                </a:lnTo>
                <a:lnTo>
                  <a:pt x="3311" y="1491"/>
                </a:lnTo>
                <a:lnTo>
                  <a:pt x="3311" y="1495"/>
                </a:lnTo>
                <a:lnTo>
                  <a:pt x="3312" y="1498"/>
                </a:lnTo>
                <a:lnTo>
                  <a:pt x="3312" y="1502"/>
                </a:lnTo>
                <a:lnTo>
                  <a:pt x="3316" y="1506"/>
                </a:lnTo>
                <a:lnTo>
                  <a:pt x="3320" y="1506"/>
                </a:lnTo>
                <a:lnTo>
                  <a:pt x="3323" y="1515"/>
                </a:lnTo>
                <a:lnTo>
                  <a:pt x="3332" y="1515"/>
                </a:lnTo>
                <a:lnTo>
                  <a:pt x="3336" y="1522"/>
                </a:lnTo>
                <a:lnTo>
                  <a:pt x="3347" y="1529"/>
                </a:lnTo>
                <a:lnTo>
                  <a:pt x="3361" y="1533"/>
                </a:lnTo>
                <a:lnTo>
                  <a:pt x="3380" y="1535"/>
                </a:lnTo>
                <a:lnTo>
                  <a:pt x="3383" y="1531"/>
                </a:lnTo>
                <a:lnTo>
                  <a:pt x="3385" y="1529"/>
                </a:lnTo>
                <a:lnTo>
                  <a:pt x="3389" y="1527"/>
                </a:lnTo>
                <a:lnTo>
                  <a:pt x="3392" y="1526"/>
                </a:lnTo>
                <a:lnTo>
                  <a:pt x="3392" y="1522"/>
                </a:lnTo>
                <a:lnTo>
                  <a:pt x="3400" y="1522"/>
                </a:lnTo>
                <a:lnTo>
                  <a:pt x="3409" y="1511"/>
                </a:lnTo>
                <a:lnTo>
                  <a:pt x="3469" y="1515"/>
                </a:lnTo>
                <a:lnTo>
                  <a:pt x="3469" y="1511"/>
                </a:lnTo>
                <a:lnTo>
                  <a:pt x="3476" y="1511"/>
                </a:lnTo>
                <a:lnTo>
                  <a:pt x="3480" y="1502"/>
                </a:lnTo>
                <a:lnTo>
                  <a:pt x="3500" y="1498"/>
                </a:lnTo>
                <a:lnTo>
                  <a:pt x="3500" y="1495"/>
                </a:lnTo>
                <a:lnTo>
                  <a:pt x="3536" y="1498"/>
                </a:lnTo>
                <a:lnTo>
                  <a:pt x="3536" y="1495"/>
                </a:lnTo>
                <a:lnTo>
                  <a:pt x="3549" y="1495"/>
                </a:lnTo>
                <a:lnTo>
                  <a:pt x="3552" y="1486"/>
                </a:lnTo>
                <a:lnTo>
                  <a:pt x="3567" y="1484"/>
                </a:lnTo>
                <a:lnTo>
                  <a:pt x="3581" y="1486"/>
                </a:lnTo>
                <a:lnTo>
                  <a:pt x="3598" y="1487"/>
                </a:lnTo>
                <a:lnTo>
                  <a:pt x="3612" y="1486"/>
                </a:lnTo>
                <a:lnTo>
                  <a:pt x="3612" y="1482"/>
                </a:lnTo>
                <a:lnTo>
                  <a:pt x="3623" y="1482"/>
                </a:lnTo>
                <a:lnTo>
                  <a:pt x="3623" y="1478"/>
                </a:lnTo>
                <a:lnTo>
                  <a:pt x="3636" y="1478"/>
                </a:lnTo>
                <a:lnTo>
                  <a:pt x="3636" y="1475"/>
                </a:lnTo>
                <a:lnTo>
                  <a:pt x="3660" y="1469"/>
                </a:lnTo>
                <a:lnTo>
                  <a:pt x="3663" y="1462"/>
                </a:lnTo>
                <a:lnTo>
                  <a:pt x="3674" y="1453"/>
                </a:lnTo>
                <a:lnTo>
                  <a:pt x="3687" y="1447"/>
                </a:lnTo>
                <a:lnTo>
                  <a:pt x="3703" y="1446"/>
                </a:lnTo>
                <a:lnTo>
                  <a:pt x="3709" y="1451"/>
                </a:lnTo>
                <a:lnTo>
                  <a:pt x="3714" y="1455"/>
                </a:lnTo>
                <a:lnTo>
                  <a:pt x="3720" y="1456"/>
                </a:lnTo>
                <a:lnTo>
                  <a:pt x="3729" y="1458"/>
                </a:lnTo>
                <a:lnTo>
                  <a:pt x="3729" y="1486"/>
                </a:lnTo>
                <a:lnTo>
                  <a:pt x="3723" y="1486"/>
                </a:lnTo>
                <a:lnTo>
                  <a:pt x="3720" y="1498"/>
                </a:lnTo>
                <a:lnTo>
                  <a:pt x="3723" y="1498"/>
                </a:lnTo>
                <a:lnTo>
                  <a:pt x="3725" y="1511"/>
                </a:lnTo>
                <a:lnTo>
                  <a:pt x="3725" y="1529"/>
                </a:lnTo>
                <a:lnTo>
                  <a:pt x="3723" y="1544"/>
                </a:lnTo>
                <a:lnTo>
                  <a:pt x="3720" y="1555"/>
                </a:lnTo>
                <a:lnTo>
                  <a:pt x="3718" y="1556"/>
                </a:lnTo>
                <a:lnTo>
                  <a:pt x="3718" y="1556"/>
                </a:lnTo>
                <a:lnTo>
                  <a:pt x="3718" y="1556"/>
                </a:lnTo>
                <a:lnTo>
                  <a:pt x="3716" y="1556"/>
                </a:lnTo>
                <a:lnTo>
                  <a:pt x="3714" y="1556"/>
                </a:lnTo>
                <a:lnTo>
                  <a:pt x="3712" y="1558"/>
                </a:lnTo>
                <a:lnTo>
                  <a:pt x="3711" y="1589"/>
                </a:lnTo>
                <a:lnTo>
                  <a:pt x="3703" y="1615"/>
                </a:lnTo>
                <a:lnTo>
                  <a:pt x="3703" y="1626"/>
                </a:lnTo>
                <a:lnTo>
                  <a:pt x="3692" y="1635"/>
                </a:lnTo>
                <a:lnTo>
                  <a:pt x="3692" y="1642"/>
                </a:lnTo>
                <a:lnTo>
                  <a:pt x="3689" y="1642"/>
                </a:lnTo>
                <a:lnTo>
                  <a:pt x="3689" y="1651"/>
                </a:lnTo>
                <a:lnTo>
                  <a:pt x="3683" y="1651"/>
                </a:lnTo>
                <a:lnTo>
                  <a:pt x="3683" y="1658"/>
                </a:lnTo>
                <a:lnTo>
                  <a:pt x="3680" y="1658"/>
                </a:lnTo>
                <a:lnTo>
                  <a:pt x="3680" y="1666"/>
                </a:lnTo>
                <a:lnTo>
                  <a:pt x="3676" y="1666"/>
                </a:lnTo>
                <a:lnTo>
                  <a:pt x="3676" y="1675"/>
                </a:lnTo>
                <a:lnTo>
                  <a:pt x="3672" y="1675"/>
                </a:lnTo>
                <a:lnTo>
                  <a:pt x="3672" y="1682"/>
                </a:lnTo>
                <a:lnTo>
                  <a:pt x="3660" y="1689"/>
                </a:lnTo>
                <a:lnTo>
                  <a:pt x="3660" y="1698"/>
                </a:lnTo>
                <a:lnTo>
                  <a:pt x="3656" y="1698"/>
                </a:lnTo>
                <a:lnTo>
                  <a:pt x="3656" y="1715"/>
                </a:lnTo>
                <a:lnTo>
                  <a:pt x="3652" y="1715"/>
                </a:lnTo>
                <a:lnTo>
                  <a:pt x="3652" y="1722"/>
                </a:lnTo>
                <a:lnTo>
                  <a:pt x="3649" y="1722"/>
                </a:lnTo>
                <a:lnTo>
                  <a:pt x="3649" y="1731"/>
                </a:lnTo>
                <a:lnTo>
                  <a:pt x="3640" y="1735"/>
                </a:lnTo>
                <a:lnTo>
                  <a:pt x="3640" y="1742"/>
                </a:lnTo>
                <a:lnTo>
                  <a:pt x="3636" y="1742"/>
                </a:lnTo>
                <a:lnTo>
                  <a:pt x="3636" y="1749"/>
                </a:lnTo>
                <a:lnTo>
                  <a:pt x="3632" y="1749"/>
                </a:lnTo>
                <a:lnTo>
                  <a:pt x="3632" y="1758"/>
                </a:lnTo>
                <a:lnTo>
                  <a:pt x="3629" y="1758"/>
                </a:lnTo>
                <a:lnTo>
                  <a:pt x="3629" y="1766"/>
                </a:lnTo>
                <a:lnTo>
                  <a:pt x="3620" y="1769"/>
                </a:lnTo>
                <a:lnTo>
                  <a:pt x="3620" y="1795"/>
                </a:lnTo>
                <a:lnTo>
                  <a:pt x="3616" y="1795"/>
                </a:lnTo>
                <a:lnTo>
                  <a:pt x="3616" y="1802"/>
                </a:lnTo>
                <a:lnTo>
                  <a:pt x="3612" y="1802"/>
                </a:lnTo>
                <a:lnTo>
                  <a:pt x="3612" y="1811"/>
                </a:lnTo>
                <a:lnTo>
                  <a:pt x="3609" y="1811"/>
                </a:lnTo>
                <a:lnTo>
                  <a:pt x="3603" y="1822"/>
                </a:lnTo>
                <a:lnTo>
                  <a:pt x="3592" y="1829"/>
                </a:lnTo>
                <a:lnTo>
                  <a:pt x="3592" y="1842"/>
                </a:lnTo>
                <a:lnTo>
                  <a:pt x="3589" y="1842"/>
                </a:lnTo>
                <a:lnTo>
                  <a:pt x="3589" y="1851"/>
                </a:lnTo>
                <a:lnTo>
                  <a:pt x="3580" y="1855"/>
                </a:lnTo>
                <a:lnTo>
                  <a:pt x="3580" y="1862"/>
                </a:lnTo>
                <a:lnTo>
                  <a:pt x="3576" y="1862"/>
                </a:lnTo>
                <a:lnTo>
                  <a:pt x="3576" y="1875"/>
                </a:lnTo>
                <a:lnTo>
                  <a:pt x="3560" y="1886"/>
                </a:lnTo>
                <a:lnTo>
                  <a:pt x="3556" y="1902"/>
                </a:lnTo>
                <a:lnTo>
                  <a:pt x="3543" y="1909"/>
                </a:lnTo>
                <a:lnTo>
                  <a:pt x="3543" y="1918"/>
                </a:lnTo>
                <a:lnTo>
                  <a:pt x="3529" y="1931"/>
                </a:lnTo>
                <a:lnTo>
                  <a:pt x="3523" y="1938"/>
                </a:lnTo>
                <a:lnTo>
                  <a:pt x="3516" y="1938"/>
                </a:lnTo>
                <a:lnTo>
                  <a:pt x="3516" y="1942"/>
                </a:lnTo>
                <a:lnTo>
                  <a:pt x="3509" y="1946"/>
                </a:lnTo>
                <a:lnTo>
                  <a:pt x="3509" y="1955"/>
                </a:lnTo>
                <a:lnTo>
                  <a:pt x="3472" y="1986"/>
                </a:lnTo>
                <a:lnTo>
                  <a:pt x="3469" y="1998"/>
                </a:lnTo>
                <a:lnTo>
                  <a:pt x="3460" y="1998"/>
                </a:lnTo>
                <a:lnTo>
                  <a:pt x="3449" y="2015"/>
                </a:lnTo>
                <a:lnTo>
                  <a:pt x="3436" y="2015"/>
                </a:lnTo>
                <a:lnTo>
                  <a:pt x="3436" y="2018"/>
                </a:lnTo>
                <a:lnTo>
                  <a:pt x="3429" y="2018"/>
                </a:lnTo>
                <a:lnTo>
                  <a:pt x="3420" y="2029"/>
                </a:lnTo>
                <a:lnTo>
                  <a:pt x="3403" y="2035"/>
                </a:lnTo>
                <a:lnTo>
                  <a:pt x="3396" y="2046"/>
                </a:lnTo>
                <a:lnTo>
                  <a:pt x="3389" y="2046"/>
                </a:lnTo>
                <a:lnTo>
                  <a:pt x="3383" y="2055"/>
                </a:lnTo>
                <a:lnTo>
                  <a:pt x="3376" y="2055"/>
                </a:lnTo>
                <a:lnTo>
                  <a:pt x="3356" y="2078"/>
                </a:lnTo>
                <a:lnTo>
                  <a:pt x="3349" y="2078"/>
                </a:lnTo>
                <a:lnTo>
                  <a:pt x="3343" y="2086"/>
                </a:lnTo>
                <a:lnTo>
                  <a:pt x="3332" y="2091"/>
                </a:lnTo>
                <a:lnTo>
                  <a:pt x="3332" y="2098"/>
                </a:lnTo>
                <a:lnTo>
                  <a:pt x="3303" y="2122"/>
                </a:lnTo>
                <a:lnTo>
                  <a:pt x="3303" y="2126"/>
                </a:lnTo>
                <a:lnTo>
                  <a:pt x="3296" y="2126"/>
                </a:lnTo>
                <a:lnTo>
                  <a:pt x="3291" y="2138"/>
                </a:lnTo>
                <a:lnTo>
                  <a:pt x="3280" y="2151"/>
                </a:lnTo>
                <a:lnTo>
                  <a:pt x="3269" y="2164"/>
                </a:lnTo>
                <a:lnTo>
                  <a:pt x="3260" y="2175"/>
                </a:lnTo>
                <a:lnTo>
                  <a:pt x="3252" y="2178"/>
                </a:lnTo>
                <a:lnTo>
                  <a:pt x="3252" y="2186"/>
                </a:lnTo>
                <a:lnTo>
                  <a:pt x="3236" y="2198"/>
                </a:lnTo>
                <a:lnTo>
                  <a:pt x="3232" y="2215"/>
                </a:lnTo>
                <a:lnTo>
                  <a:pt x="3223" y="2218"/>
                </a:lnTo>
                <a:lnTo>
                  <a:pt x="3203" y="2255"/>
                </a:lnTo>
                <a:lnTo>
                  <a:pt x="3180" y="2258"/>
                </a:lnTo>
                <a:lnTo>
                  <a:pt x="3180" y="2264"/>
                </a:lnTo>
                <a:lnTo>
                  <a:pt x="3178" y="2269"/>
                </a:lnTo>
                <a:lnTo>
                  <a:pt x="3176" y="2273"/>
                </a:lnTo>
                <a:lnTo>
                  <a:pt x="3174" y="2276"/>
                </a:lnTo>
                <a:lnTo>
                  <a:pt x="3174" y="2280"/>
                </a:lnTo>
                <a:lnTo>
                  <a:pt x="3172" y="2286"/>
                </a:lnTo>
                <a:lnTo>
                  <a:pt x="3143" y="2295"/>
                </a:lnTo>
                <a:lnTo>
                  <a:pt x="3136" y="2329"/>
                </a:lnTo>
                <a:lnTo>
                  <a:pt x="3123" y="2338"/>
                </a:lnTo>
                <a:lnTo>
                  <a:pt x="3123" y="2355"/>
                </a:lnTo>
                <a:lnTo>
                  <a:pt x="3120" y="2355"/>
                </a:lnTo>
                <a:lnTo>
                  <a:pt x="3112" y="2378"/>
                </a:lnTo>
                <a:lnTo>
                  <a:pt x="3109" y="2378"/>
                </a:lnTo>
                <a:lnTo>
                  <a:pt x="3109" y="2386"/>
                </a:lnTo>
                <a:lnTo>
                  <a:pt x="3103" y="2386"/>
                </a:lnTo>
                <a:lnTo>
                  <a:pt x="3100" y="2402"/>
                </a:lnTo>
                <a:lnTo>
                  <a:pt x="3083" y="2411"/>
                </a:lnTo>
                <a:lnTo>
                  <a:pt x="3063" y="2486"/>
                </a:lnTo>
                <a:lnTo>
                  <a:pt x="3081" y="2498"/>
                </a:lnTo>
                <a:lnTo>
                  <a:pt x="3096" y="2515"/>
                </a:lnTo>
                <a:lnTo>
                  <a:pt x="3100" y="2515"/>
                </a:lnTo>
                <a:lnTo>
                  <a:pt x="3100" y="2555"/>
                </a:lnTo>
                <a:lnTo>
                  <a:pt x="3094" y="2564"/>
                </a:lnTo>
                <a:lnTo>
                  <a:pt x="3094" y="2575"/>
                </a:lnTo>
                <a:lnTo>
                  <a:pt x="3096" y="2589"/>
                </a:lnTo>
                <a:lnTo>
                  <a:pt x="3096" y="2606"/>
                </a:lnTo>
                <a:lnTo>
                  <a:pt x="3092" y="2606"/>
                </a:lnTo>
                <a:lnTo>
                  <a:pt x="3092" y="2616"/>
                </a:lnTo>
                <a:lnTo>
                  <a:pt x="3096" y="2635"/>
                </a:lnTo>
                <a:lnTo>
                  <a:pt x="3103" y="2655"/>
                </a:lnTo>
                <a:lnTo>
                  <a:pt x="3111" y="2675"/>
                </a:lnTo>
                <a:lnTo>
                  <a:pt x="3116" y="2691"/>
                </a:lnTo>
                <a:lnTo>
                  <a:pt x="3120" y="2702"/>
                </a:lnTo>
                <a:lnTo>
                  <a:pt x="3127" y="2704"/>
                </a:lnTo>
                <a:lnTo>
                  <a:pt x="3132" y="2706"/>
                </a:lnTo>
                <a:lnTo>
                  <a:pt x="3138" y="2707"/>
                </a:lnTo>
                <a:lnTo>
                  <a:pt x="3141" y="2711"/>
                </a:lnTo>
                <a:lnTo>
                  <a:pt x="3145" y="2716"/>
                </a:lnTo>
                <a:lnTo>
                  <a:pt x="3149" y="2722"/>
                </a:lnTo>
                <a:lnTo>
                  <a:pt x="3154" y="2731"/>
                </a:lnTo>
                <a:lnTo>
                  <a:pt x="3158" y="2746"/>
                </a:lnTo>
                <a:lnTo>
                  <a:pt x="3156" y="2762"/>
                </a:lnTo>
                <a:lnTo>
                  <a:pt x="3152" y="2762"/>
                </a:lnTo>
                <a:lnTo>
                  <a:pt x="3152" y="2782"/>
                </a:lnTo>
                <a:lnTo>
                  <a:pt x="3149" y="2782"/>
                </a:lnTo>
                <a:lnTo>
                  <a:pt x="3149" y="2809"/>
                </a:lnTo>
                <a:lnTo>
                  <a:pt x="3147" y="2811"/>
                </a:lnTo>
                <a:lnTo>
                  <a:pt x="3147" y="2811"/>
                </a:lnTo>
                <a:lnTo>
                  <a:pt x="3145" y="2813"/>
                </a:lnTo>
                <a:lnTo>
                  <a:pt x="3143" y="2815"/>
                </a:lnTo>
                <a:lnTo>
                  <a:pt x="3143" y="2818"/>
                </a:lnTo>
                <a:lnTo>
                  <a:pt x="3149" y="2818"/>
                </a:lnTo>
                <a:lnTo>
                  <a:pt x="3149" y="2831"/>
                </a:lnTo>
                <a:lnTo>
                  <a:pt x="3152" y="2831"/>
                </a:lnTo>
                <a:lnTo>
                  <a:pt x="3152" y="2935"/>
                </a:lnTo>
                <a:lnTo>
                  <a:pt x="3160" y="2938"/>
                </a:lnTo>
                <a:lnTo>
                  <a:pt x="3163" y="2949"/>
                </a:lnTo>
                <a:lnTo>
                  <a:pt x="3165" y="2967"/>
                </a:lnTo>
                <a:lnTo>
                  <a:pt x="3163" y="2982"/>
                </a:lnTo>
                <a:lnTo>
                  <a:pt x="3160" y="2982"/>
                </a:lnTo>
                <a:lnTo>
                  <a:pt x="3160" y="2995"/>
                </a:lnTo>
                <a:lnTo>
                  <a:pt x="3152" y="2998"/>
                </a:lnTo>
                <a:lnTo>
                  <a:pt x="3152" y="3018"/>
                </a:lnTo>
                <a:lnTo>
                  <a:pt x="3140" y="3026"/>
                </a:lnTo>
                <a:lnTo>
                  <a:pt x="3140" y="3035"/>
                </a:lnTo>
                <a:lnTo>
                  <a:pt x="3116" y="3055"/>
                </a:lnTo>
                <a:lnTo>
                  <a:pt x="3116" y="3062"/>
                </a:lnTo>
                <a:lnTo>
                  <a:pt x="3100" y="3075"/>
                </a:lnTo>
                <a:lnTo>
                  <a:pt x="3096" y="3086"/>
                </a:lnTo>
                <a:lnTo>
                  <a:pt x="3080" y="3089"/>
                </a:lnTo>
                <a:lnTo>
                  <a:pt x="3072" y="3102"/>
                </a:lnTo>
                <a:lnTo>
                  <a:pt x="3063" y="3102"/>
                </a:lnTo>
                <a:lnTo>
                  <a:pt x="3063" y="3106"/>
                </a:lnTo>
                <a:lnTo>
                  <a:pt x="3056" y="3106"/>
                </a:lnTo>
                <a:lnTo>
                  <a:pt x="3056" y="3109"/>
                </a:lnTo>
                <a:lnTo>
                  <a:pt x="3036" y="3109"/>
                </a:lnTo>
                <a:lnTo>
                  <a:pt x="3036" y="3115"/>
                </a:lnTo>
                <a:lnTo>
                  <a:pt x="3020" y="3118"/>
                </a:lnTo>
                <a:lnTo>
                  <a:pt x="3020" y="3122"/>
                </a:lnTo>
                <a:lnTo>
                  <a:pt x="2972" y="3138"/>
                </a:lnTo>
                <a:lnTo>
                  <a:pt x="2949" y="3166"/>
                </a:lnTo>
                <a:lnTo>
                  <a:pt x="2943" y="3166"/>
                </a:lnTo>
                <a:lnTo>
                  <a:pt x="2943" y="3178"/>
                </a:lnTo>
                <a:lnTo>
                  <a:pt x="2932" y="3186"/>
                </a:lnTo>
                <a:lnTo>
                  <a:pt x="2932" y="3191"/>
                </a:lnTo>
                <a:lnTo>
                  <a:pt x="2923" y="3191"/>
                </a:lnTo>
                <a:lnTo>
                  <a:pt x="2920" y="3198"/>
                </a:lnTo>
                <a:lnTo>
                  <a:pt x="2916" y="3198"/>
                </a:lnTo>
                <a:lnTo>
                  <a:pt x="2914" y="3202"/>
                </a:lnTo>
                <a:lnTo>
                  <a:pt x="2914" y="3204"/>
                </a:lnTo>
                <a:lnTo>
                  <a:pt x="2914" y="3204"/>
                </a:lnTo>
                <a:lnTo>
                  <a:pt x="2914" y="3206"/>
                </a:lnTo>
                <a:lnTo>
                  <a:pt x="2914" y="3207"/>
                </a:lnTo>
                <a:lnTo>
                  <a:pt x="2914" y="3207"/>
                </a:lnTo>
                <a:lnTo>
                  <a:pt x="2914" y="3209"/>
                </a:lnTo>
                <a:lnTo>
                  <a:pt x="2912" y="3211"/>
                </a:lnTo>
                <a:lnTo>
                  <a:pt x="2909" y="3215"/>
                </a:lnTo>
                <a:lnTo>
                  <a:pt x="2909" y="3218"/>
                </a:lnTo>
                <a:lnTo>
                  <a:pt x="2889" y="3218"/>
                </a:lnTo>
                <a:lnTo>
                  <a:pt x="2852" y="3258"/>
                </a:lnTo>
                <a:lnTo>
                  <a:pt x="2843" y="3258"/>
                </a:lnTo>
                <a:lnTo>
                  <a:pt x="2840" y="3266"/>
                </a:lnTo>
                <a:lnTo>
                  <a:pt x="2832" y="3266"/>
                </a:lnTo>
                <a:lnTo>
                  <a:pt x="2820" y="3289"/>
                </a:lnTo>
                <a:lnTo>
                  <a:pt x="2823" y="3289"/>
                </a:lnTo>
                <a:lnTo>
                  <a:pt x="2829" y="3296"/>
                </a:lnTo>
                <a:lnTo>
                  <a:pt x="2832" y="3302"/>
                </a:lnTo>
                <a:lnTo>
                  <a:pt x="2836" y="3307"/>
                </a:lnTo>
                <a:lnTo>
                  <a:pt x="2840" y="3315"/>
                </a:lnTo>
                <a:lnTo>
                  <a:pt x="2840" y="3346"/>
                </a:lnTo>
                <a:lnTo>
                  <a:pt x="2849" y="3351"/>
                </a:lnTo>
                <a:lnTo>
                  <a:pt x="2851" y="3362"/>
                </a:lnTo>
                <a:lnTo>
                  <a:pt x="2851" y="3373"/>
                </a:lnTo>
                <a:lnTo>
                  <a:pt x="2856" y="3382"/>
                </a:lnTo>
                <a:lnTo>
                  <a:pt x="2858" y="3384"/>
                </a:lnTo>
                <a:lnTo>
                  <a:pt x="2858" y="3384"/>
                </a:lnTo>
                <a:lnTo>
                  <a:pt x="2858" y="3386"/>
                </a:lnTo>
                <a:lnTo>
                  <a:pt x="2860" y="3386"/>
                </a:lnTo>
                <a:lnTo>
                  <a:pt x="2861" y="3386"/>
                </a:lnTo>
                <a:lnTo>
                  <a:pt x="2863" y="3386"/>
                </a:lnTo>
                <a:lnTo>
                  <a:pt x="2860" y="3455"/>
                </a:lnTo>
                <a:lnTo>
                  <a:pt x="2856" y="3455"/>
                </a:lnTo>
                <a:lnTo>
                  <a:pt x="2856" y="3471"/>
                </a:lnTo>
                <a:lnTo>
                  <a:pt x="2852" y="3471"/>
                </a:lnTo>
                <a:lnTo>
                  <a:pt x="2852" y="3473"/>
                </a:lnTo>
                <a:lnTo>
                  <a:pt x="2852" y="3475"/>
                </a:lnTo>
                <a:lnTo>
                  <a:pt x="2854" y="3476"/>
                </a:lnTo>
                <a:lnTo>
                  <a:pt x="2856" y="3478"/>
                </a:lnTo>
                <a:lnTo>
                  <a:pt x="2856" y="3478"/>
                </a:lnTo>
                <a:lnTo>
                  <a:pt x="2858" y="3493"/>
                </a:lnTo>
                <a:lnTo>
                  <a:pt x="2854" y="3504"/>
                </a:lnTo>
                <a:lnTo>
                  <a:pt x="2849" y="3515"/>
                </a:lnTo>
                <a:lnTo>
                  <a:pt x="2843" y="3522"/>
                </a:lnTo>
                <a:lnTo>
                  <a:pt x="2843" y="3531"/>
                </a:lnTo>
                <a:lnTo>
                  <a:pt x="2816" y="3551"/>
                </a:lnTo>
                <a:lnTo>
                  <a:pt x="2800" y="3551"/>
                </a:lnTo>
                <a:lnTo>
                  <a:pt x="2800" y="3555"/>
                </a:lnTo>
                <a:lnTo>
                  <a:pt x="2789" y="3555"/>
                </a:lnTo>
                <a:lnTo>
                  <a:pt x="2783" y="3562"/>
                </a:lnTo>
                <a:lnTo>
                  <a:pt x="2772" y="3562"/>
                </a:lnTo>
                <a:lnTo>
                  <a:pt x="2772" y="3566"/>
                </a:lnTo>
                <a:lnTo>
                  <a:pt x="2756" y="3569"/>
                </a:lnTo>
                <a:lnTo>
                  <a:pt x="2756" y="3575"/>
                </a:lnTo>
                <a:lnTo>
                  <a:pt x="2736" y="3575"/>
                </a:lnTo>
                <a:lnTo>
                  <a:pt x="2732" y="3582"/>
                </a:lnTo>
                <a:lnTo>
                  <a:pt x="2716" y="3586"/>
                </a:lnTo>
                <a:lnTo>
                  <a:pt x="2716" y="3589"/>
                </a:lnTo>
                <a:lnTo>
                  <a:pt x="2709" y="3595"/>
                </a:lnTo>
                <a:lnTo>
                  <a:pt x="2703" y="3606"/>
                </a:lnTo>
                <a:lnTo>
                  <a:pt x="2700" y="3606"/>
                </a:lnTo>
                <a:lnTo>
                  <a:pt x="2703" y="3609"/>
                </a:lnTo>
                <a:lnTo>
                  <a:pt x="2707" y="3613"/>
                </a:lnTo>
                <a:lnTo>
                  <a:pt x="2709" y="3615"/>
                </a:lnTo>
                <a:lnTo>
                  <a:pt x="2709" y="3622"/>
                </a:lnTo>
                <a:lnTo>
                  <a:pt x="2712" y="3622"/>
                </a:lnTo>
                <a:lnTo>
                  <a:pt x="2712" y="3655"/>
                </a:lnTo>
                <a:lnTo>
                  <a:pt x="2709" y="3655"/>
                </a:lnTo>
                <a:lnTo>
                  <a:pt x="2709" y="3682"/>
                </a:lnTo>
                <a:lnTo>
                  <a:pt x="2703" y="3682"/>
                </a:lnTo>
                <a:lnTo>
                  <a:pt x="2703" y="3695"/>
                </a:lnTo>
                <a:lnTo>
                  <a:pt x="2700" y="3695"/>
                </a:lnTo>
                <a:lnTo>
                  <a:pt x="2700" y="3702"/>
                </a:lnTo>
                <a:lnTo>
                  <a:pt x="2696" y="3702"/>
                </a:lnTo>
                <a:lnTo>
                  <a:pt x="2696" y="3718"/>
                </a:lnTo>
                <a:lnTo>
                  <a:pt x="2692" y="3718"/>
                </a:lnTo>
                <a:lnTo>
                  <a:pt x="2692" y="3726"/>
                </a:lnTo>
                <a:lnTo>
                  <a:pt x="2689" y="3726"/>
                </a:lnTo>
                <a:lnTo>
                  <a:pt x="2683" y="3762"/>
                </a:lnTo>
                <a:lnTo>
                  <a:pt x="2669" y="3775"/>
                </a:lnTo>
                <a:lnTo>
                  <a:pt x="2669" y="3778"/>
                </a:lnTo>
                <a:lnTo>
                  <a:pt x="2660" y="3778"/>
                </a:lnTo>
                <a:lnTo>
                  <a:pt x="2652" y="3789"/>
                </a:lnTo>
                <a:lnTo>
                  <a:pt x="2643" y="3789"/>
                </a:lnTo>
                <a:lnTo>
                  <a:pt x="2643" y="3795"/>
                </a:lnTo>
                <a:lnTo>
                  <a:pt x="2640" y="3798"/>
                </a:lnTo>
                <a:lnTo>
                  <a:pt x="2634" y="3804"/>
                </a:lnTo>
                <a:lnTo>
                  <a:pt x="2629" y="3807"/>
                </a:lnTo>
                <a:lnTo>
                  <a:pt x="2623" y="3811"/>
                </a:lnTo>
                <a:lnTo>
                  <a:pt x="2616" y="3815"/>
                </a:lnTo>
                <a:lnTo>
                  <a:pt x="2612" y="3826"/>
                </a:lnTo>
                <a:lnTo>
                  <a:pt x="2609" y="3826"/>
                </a:lnTo>
                <a:lnTo>
                  <a:pt x="2609" y="3835"/>
                </a:lnTo>
                <a:lnTo>
                  <a:pt x="2600" y="3838"/>
                </a:lnTo>
                <a:lnTo>
                  <a:pt x="2596" y="3858"/>
                </a:lnTo>
                <a:lnTo>
                  <a:pt x="2583" y="3866"/>
                </a:lnTo>
                <a:lnTo>
                  <a:pt x="2583" y="3875"/>
                </a:lnTo>
                <a:lnTo>
                  <a:pt x="2576" y="3878"/>
                </a:lnTo>
                <a:lnTo>
                  <a:pt x="2576" y="3886"/>
                </a:lnTo>
                <a:lnTo>
                  <a:pt x="2560" y="3898"/>
                </a:lnTo>
                <a:lnTo>
                  <a:pt x="2560" y="3906"/>
                </a:lnTo>
                <a:lnTo>
                  <a:pt x="2532" y="3929"/>
                </a:lnTo>
                <a:lnTo>
                  <a:pt x="2529" y="3938"/>
                </a:lnTo>
                <a:lnTo>
                  <a:pt x="2512" y="3942"/>
                </a:lnTo>
                <a:lnTo>
                  <a:pt x="2509" y="3955"/>
                </a:lnTo>
                <a:lnTo>
                  <a:pt x="2489" y="3966"/>
                </a:lnTo>
                <a:lnTo>
                  <a:pt x="2489" y="3975"/>
                </a:lnTo>
                <a:lnTo>
                  <a:pt x="2483" y="3975"/>
                </a:lnTo>
                <a:lnTo>
                  <a:pt x="2480" y="3982"/>
                </a:lnTo>
                <a:lnTo>
                  <a:pt x="2472" y="3982"/>
                </a:lnTo>
                <a:lnTo>
                  <a:pt x="2449" y="4009"/>
                </a:lnTo>
                <a:lnTo>
                  <a:pt x="2440" y="4009"/>
                </a:lnTo>
                <a:lnTo>
                  <a:pt x="2432" y="4022"/>
                </a:lnTo>
                <a:lnTo>
                  <a:pt x="2409" y="4031"/>
                </a:lnTo>
                <a:lnTo>
                  <a:pt x="2400" y="4042"/>
                </a:lnTo>
                <a:lnTo>
                  <a:pt x="2383" y="4046"/>
                </a:lnTo>
                <a:lnTo>
                  <a:pt x="2380" y="4055"/>
                </a:lnTo>
                <a:lnTo>
                  <a:pt x="2340" y="4058"/>
                </a:lnTo>
                <a:lnTo>
                  <a:pt x="2340" y="4058"/>
                </a:lnTo>
                <a:lnTo>
                  <a:pt x="2340" y="4056"/>
                </a:lnTo>
                <a:lnTo>
                  <a:pt x="2338" y="4055"/>
                </a:lnTo>
                <a:lnTo>
                  <a:pt x="2336" y="4055"/>
                </a:lnTo>
                <a:lnTo>
                  <a:pt x="2332" y="4055"/>
                </a:lnTo>
                <a:lnTo>
                  <a:pt x="2332" y="4058"/>
                </a:lnTo>
                <a:lnTo>
                  <a:pt x="2323" y="4058"/>
                </a:lnTo>
                <a:lnTo>
                  <a:pt x="2312" y="4075"/>
                </a:lnTo>
                <a:lnTo>
                  <a:pt x="2276" y="4075"/>
                </a:lnTo>
                <a:lnTo>
                  <a:pt x="2272" y="4082"/>
                </a:lnTo>
                <a:lnTo>
                  <a:pt x="2263" y="4082"/>
                </a:lnTo>
                <a:lnTo>
                  <a:pt x="2263" y="4086"/>
                </a:lnTo>
                <a:lnTo>
                  <a:pt x="2216" y="4082"/>
                </a:lnTo>
                <a:lnTo>
                  <a:pt x="2216" y="4078"/>
                </a:lnTo>
                <a:lnTo>
                  <a:pt x="2209" y="4078"/>
                </a:lnTo>
                <a:lnTo>
                  <a:pt x="2209" y="4075"/>
                </a:lnTo>
                <a:lnTo>
                  <a:pt x="2203" y="4073"/>
                </a:lnTo>
                <a:lnTo>
                  <a:pt x="2200" y="4073"/>
                </a:lnTo>
                <a:lnTo>
                  <a:pt x="2198" y="4075"/>
                </a:lnTo>
                <a:lnTo>
                  <a:pt x="2196" y="4076"/>
                </a:lnTo>
                <a:lnTo>
                  <a:pt x="2194" y="4078"/>
                </a:lnTo>
                <a:lnTo>
                  <a:pt x="2194" y="4080"/>
                </a:lnTo>
                <a:lnTo>
                  <a:pt x="2192" y="4082"/>
                </a:lnTo>
                <a:lnTo>
                  <a:pt x="2192" y="4082"/>
                </a:lnTo>
                <a:lnTo>
                  <a:pt x="2140" y="4078"/>
                </a:lnTo>
                <a:lnTo>
                  <a:pt x="2140" y="4082"/>
                </a:lnTo>
                <a:lnTo>
                  <a:pt x="2129" y="4082"/>
                </a:lnTo>
                <a:lnTo>
                  <a:pt x="2116" y="4098"/>
                </a:lnTo>
                <a:lnTo>
                  <a:pt x="2052" y="4098"/>
                </a:lnTo>
                <a:lnTo>
                  <a:pt x="2052" y="4102"/>
                </a:lnTo>
                <a:lnTo>
                  <a:pt x="2036" y="4106"/>
                </a:lnTo>
                <a:lnTo>
                  <a:pt x="2023" y="4122"/>
                </a:lnTo>
                <a:lnTo>
                  <a:pt x="1983" y="4122"/>
                </a:lnTo>
                <a:lnTo>
                  <a:pt x="1981" y="4120"/>
                </a:lnTo>
                <a:lnTo>
                  <a:pt x="1978" y="4118"/>
                </a:lnTo>
                <a:lnTo>
                  <a:pt x="1974" y="4116"/>
                </a:lnTo>
                <a:lnTo>
                  <a:pt x="1972" y="4115"/>
                </a:lnTo>
                <a:lnTo>
                  <a:pt x="1972" y="4106"/>
                </a:lnTo>
                <a:lnTo>
                  <a:pt x="1971" y="4104"/>
                </a:lnTo>
                <a:lnTo>
                  <a:pt x="1967" y="4102"/>
                </a:lnTo>
                <a:lnTo>
                  <a:pt x="1961" y="4098"/>
                </a:lnTo>
                <a:lnTo>
                  <a:pt x="1956" y="4096"/>
                </a:lnTo>
                <a:lnTo>
                  <a:pt x="1951" y="4093"/>
                </a:lnTo>
                <a:lnTo>
                  <a:pt x="1947" y="4091"/>
                </a:lnTo>
                <a:lnTo>
                  <a:pt x="1943" y="4091"/>
                </a:lnTo>
                <a:lnTo>
                  <a:pt x="1941" y="4089"/>
                </a:lnTo>
                <a:lnTo>
                  <a:pt x="1941" y="4091"/>
                </a:lnTo>
                <a:lnTo>
                  <a:pt x="1941" y="4091"/>
                </a:lnTo>
                <a:lnTo>
                  <a:pt x="1941" y="4093"/>
                </a:lnTo>
                <a:lnTo>
                  <a:pt x="1941" y="4093"/>
                </a:lnTo>
                <a:lnTo>
                  <a:pt x="1940" y="4095"/>
                </a:lnTo>
                <a:lnTo>
                  <a:pt x="1920" y="4095"/>
                </a:lnTo>
                <a:lnTo>
                  <a:pt x="1916" y="4055"/>
                </a:lnTo>
                <a:lnTo>
                  <a:pt x="1920" y="4055"/>
                </a:lnTo>
                <a:lnTo>
                  <a:pt x="1920" y="4051"/>
                </a:lnTo>
                <a:lnTo>
                  <a:pt x="1916" y="4051"/>
                </a:lnTo>
                <a:lnTo>
                  <a:pt x="1912" y="4038"/>
                </a:lnTo>
                <a:lnTo>
                  <a:pt x="1909" y="4038"/>
                </a:lnTo>
                <a:lnTo>
                  <a:pt x="1909" y="4031"/>
                </a:lnTo>
                <a:lnTo>
                  <a:pt x="1900" y="4026"/>
                </a:lnTo>
                <a:lnTo>
                  <a:pt x="1900" y="4015"/>
                </a:lnTo>
                <a:lnTo>
                  <a:pt x="1892" y="4009"/>
                </a:lnTo>
                <a:lnTo>
                  <a:pt x="1892" y="3989"/>
                </a:lnTo>
                <a:lnTo>
                  <a:pt x="1896" y="3989"/>
                </a:lnTo>
                <a:lnTo>
                  <a:pt x="1896" y="3986"/>
                </a:lnTo>
                <a:lnTo>
                  <a:pt x="1912" y="3986"/>
                </a:lnTo>
                <a:lnTo>
                  <a:pt x="1916" y="3978"/>
                </a:lnTo>
                <a:lnTo>
                  <a:pt x="1916" y="3967"/>
                </a:lnTo>
                <a:lnTo>
                  <a:pt x="1916" y="3953"/>
                </a:lnTo>
                <a:lnTo>
                  <a:pt x="1916" y="3942"/>
                </a:lnTo>
                <a:lnTo>
                  <a:pt x="1903" y="3935"/>
                </a:lnTo>
                <a:lnTo>
                  <a:pt x="1903" y="3926"/>
                </a:lnTo>
                <a:lnTo>
                  <a:pt x="1892" y="3918"/>
                </a:lnTo>
                <a:lnTo>
                  <a:pt x="1892" y="3911"/>
                </a:lnTo>
                <a:lnTo>
                  <a:pt x="1889" y="3911"/>
                </a:lnTo>
                <a:lnTo>
                  <a:pt x="1880" y="3886"/>
                </a:lnTo>
                <a:lnTo>
                  <a:pt x="1876" y="3886"/>
                </a:lnTo>
                <a:lnTo>
                  <a:pt x="1872" y="3866"/>
                </a:lnTo>
                <a:lnTo>
                  <a:pt x="1863" y="3862"/>
                </a:lnTo>
                <a:lnTo>
                  <a:pt x="1863" y="3855"/>
                </a:lnTo>
                <a:lnTo>
                  <a:pt x="1860" y="3855"/>
                </a:lnTo>
                <a:lnTo>
                  <a:pt x="1860" y="3835"/>
                </a:lnTo>
                <a:lnTo>
                  <a:pt x="1856" y="3835"/>
                </a:lnTo>
                <a:lnTo>
                  <a:pt x="1856" y="3826"/>
                </a:lnTo>
                <a:lnTo>
                  <a:pt x="1852" y="3826"/>
                </a:lnTo>
                <a:lnTo>
                  <a:pt x="1849" y="3802"/>
                </a:lnTo>
                <a:lnTo>
                  <a:pt x="1843" y="3802"/>
                </a:lnTo>
                <a:lnTo>
                  <a:pt x="1836" y="3778"/>
                </a:lnTo>
                <a:lnTo>
                  <a:pt x="1832" y="3778"/>
                </a:lnTo>
                <a:lnTo>
                  <a:pt x="1829" y="3775"/>
                </a:lnTo>
                <a:lnTo>
                  <a:pt x="1827" y="3771"/>
                </a:lnTo>
                <a:lnTo>
                  <a:pt x="1825" y="3767"/>
                </a:lnTo>
                <a:lnTo>
                  <a:pt x="1823" y="3762"/>
                </a:lnTo>
                <a:lnTo>
                  <a:pt x="1812" y="3762"/>
                </a:lnTo>
                <a:lnTo>
                  <a:pt x="1789" y="3735"/>
                </a:lnTo>
                <a:lnTo>
                  <a:pt x="1780" y="3729"/>
                </a:lnTo>
                <a:lnTo>
                  <a:pt x="1780" y="3722"/>
                </a:lnTo>
                <a:lnTo>
                  <a:pt x="1776" y="3722"/>
                </a:lnTo>
                <a:lnTo>
                  <a:pt x="1776" y="3715"/>
                </a:lnTo>
                <a:lnTo>
                  <a:pt x="1772" y="3715"/>
                </a:lnTo>
                <a:lnTo>
                  <a:pt x="1772" y="3706"/>
                </a:lnTo>
                <a:lnTo>
                  <a:pt x="1763" y="3702"/>
                </a:lnTo>
                <a:lnTo>
                  <a:pt x="1763" y="3695"/>
                </a:lnTo>
                <a:lnTo>
                  <a:pt x="1756" y="3691"/>
                </a:lnTo>
                <a:lnTo>
                  <a:pt x="1752" y="3642"/>
                </a:lnTo>
                <a:lnTo>
                  <a:pt x="1743" y="3638"/>
                </a:lnTo>
                <a:lnTo>
                  <a:pt x="1743" y="3618"/>
                </a:lnTo>
                <a:lnTo>
                  <a:pt x="1740" y="3618"/>
                </a:lnTo>
                <a:lnTo>
                  <a:pt x="1740" y="3606"/>
                </a:lnTo>
                <a:lnTo>
                  <a:pt x="1736" y="3606"/>
                </a:lnTo>
                <a:lnTo>
                  <a:pt x="1736" y="3555"/>
                </a:lnTo>
                <a:lnTo>
                  <a:pt x="1732" y="3555"/>
                </a:lnTo>
                <a:lnTo>
                  <a:pt x="1729" y="3538"/>
                </a:lnTo>
                <a:lnTo>
                  <a:pt x="1723" y="3538"/>
                </a:lnTo>
                <a:lnTo>
                  <a:pt x="1723" y="3522"/>
                </a:lnTo>
                <a:lnTo>
                  <a:pt x="1720" y="3522"/>
                </a:lnTo>
                <a:lnTo>
                  <a:pt x="1720" y="3509"/>
                </a:lnTo>
                <a:lnTo>
                  <a:pt x="1716" y="3509"/>
                </a:lnTo>
                <a:lnTo>
                  <a:pt x="1716" y="3491"/>
                </a:lnTo>
                <a:lnTo>
                  <a:pt x="1720" y="3491"/>
                </a:lnTo>
                <a:lnTo>
                  <a:pt x="1716" y="3442"/>
                </a:lnTo>
                <a:lnTo>
                  <a:pt x="1716" y="3436"/>
                </a:lnTo>
                <a:lnTo>
                  <a:pt x="1718" y="3431"/>
                </a:lnTo>
                <a:lnTo>
                  <a:pt x="1718" y="3426"/>
                </a:lnTo>
                <a:lnTo>
                  <a:pt x="1720" y="3420"/>
                </a:lnTo>
                <a:lnTo>
                  <a:pt x="1720" y="3416"/>
                </a:lnTo>
                <a:lnTo>
                  <a:pt x="1720" y="3415"/>
                </a:lnTo>
                <a:lnTo>
                  <a:pt x="1716" y="3415"/>
                </a:lnTo>
                <a:lnTo>
                  <a:pt x="1709" y="3391"/>
                </a:lnTo>
                <a:lnTo>
                  <a:pt x="1692" y="3378"/>
                </a:lnTo>
                <a:lnTo>
                  <a:pt x="1692" y="3366"/>
                </a:lnTo>
                <a:lnTo>
                  <a:pt x="1689" y="3366"/>
                </a:lnTo>
                <a:lnTo>
                  <a:pt x="1689" y="3358"/>
                </a:lnTo>
                <a:lnTo>
                  <a:pt x="1683" y="3358"/>
                </a:lnTo>
                <a:lnTo>
                  <a:pt x="1683" y="3351"/>
                </a:lnTo>
                <a:lnTo>
                  <a:pt x="1669" y="3338"/>
                </a:lnTo>
                <a:lnTo>
                  <a:pt x="1669" y="3331"/>
                </a:lnTo>
                <a:lnTo>
                  <a:pt x="1660" y="3326"/>
                </a:lnTo>
                <a:lnTo>
                  <a:pt x="1660" y="3318"/>
                </a:lnTo>
                <a:lnTo>
                  <a:pt x="1656" y="3318"/>
                </a:lnTo>
                <a:lnTo>
                  <a:pt x="1656" y="3298"/>
                </a:lnTo>
                <a:lnTo>
                  <a:pt x="1652" y="3298"/>
                </a:lnTo>
                <a:lnTo>
                  <a:pt x="1652" y="3289"/>
                </a:lnTo>
                <a:lnTo>
                  <a:pt x="1643" y="3286"/>
                </a:lnTo>
                <a:lnTo>
                  <a:pt x="1643" y="3278"/>
                </a:lnTo>
                <a:lnTo>
                  <a:pt x="1640" y="3278"/>
                </a:lnTo>
                <a:lnTo>
                  <a:pt x="1640" y="3262"/>
                </a:lnTo>
                <a:lnTo>
                  <a:pt x="1629" y="3255"/>
                </a:lnTo>
                <a:lnTo>
                  <a:pt x="1629" y="3242"/>
                </a:lnTo>
                <a:lnTo>
                  <a:pt x="1620" y="3238"/>
                </a:lnTo>
                <a:lnTo>
                  <a:pt x="1612" y="3215"/>
                </a:lnTo>
                <a:lnTo>
                  <a:pt x="1603" y="3211"/>
                </a:lnTo>
                <a:lnTo>
                  <a:pt x="1603" y="3202"/>
                </a:lnTo>
                <a:lnTo>
                  <a:pt x="1589" y="3191"/>
                </a:lnTo>
                <a:lnTo>
                  <a:pt x="1583" y="3175"/>
                </a:lnTo>
                <a:lnTo>
                  <a:pt x="1576" y="3169"/>
                </a:lnTo>
                <a:lnTo>
                  <a:pt x="1576" y="3162"/>
                </a:lnTo>
                <a:lnTo>
                  <a:pt x="1572" y="3162"/>
                </a:lnTo>
                <a:lnTo>
                  <a:pt x="1571" y="3149"/>
                </a:lnTo>
                <a:lnTo>
                  <a:pt x="1571" y="3131"/>
                </a:lnTo>
                <a:lnTo>
                  <a:pt x="1572" y="3111"/>
                </a:lnTo>
                <a:lnTo>
                  <a:pt x="1574" y="3093"/>
                </a:lnTo>
                <a:lnTo>
                  <a:pt x="1576" y="3082"/>
                </a:lnTo>
                <a:lnTo>
                  <a:pt x="1572" y="3022"/>
                </a:lnTo>
                <a:lnTo>
                  <a:pt x="1576" y="3022"/>
                </a:lnTo>
                <a:lnTo>
                  <a:pt x="1576" y="3015"/>
                </a:lnTo>
                <a:lnTo>
                  <a:pt x="1589" y="3006"/>
                </a:lnTo>
                <a:lnTo>
                  <a:pt x="1589" y="2986"/>
                </a:lnTo>
                <a:lnTo>
                  <a:pt x="1592" y="2986"/>
                </a:lnTo>
                <a:lnTo>
                  <a:pt x="1592" y="2975"/>
                </a:lnTo>
                <a:lnTo>
                  <a:pt x="1596" y="2975"/>
                </a:lnTo>
                <a:lnTo>
                  <a:pt x="1596" y="2966"/>
                </a:lnTo>
                <a:lnTo>
                  <a:pt x="1600" y="2966"/>
                </a:lnTo>
                <a:lnTo>
                  <a:pt x="1600" y="2942"/>
                </a:lnTo>
                <a:lnTo>
                  <a:pt x="1603" y="2942"/>
                </a:lnTo>
                <a:lnTo>
                  <a:pt x="1603" y="2918"/>
                </a:lnTo>
                <a:lnTo>
                  <a:pt x="1609" y="2918"/>
                </a:lnTo>
                <a:lnTo>
                  <a:pt x="1609" y="2911"/>
                </a:lnTo>
                <a:lnTo>
                  <a:pt x="1612" y="2911"/>
                </a:lnTo>
                <a:lnTo>
                  <a:pt x="1612" y="2886"/>
                </a:lnTo>
                <a:lnTo>
                  <a:pt x="1618" y="2876"/>
                </a:lnTo>
                <a:lnTo>
                  <a:pt x="1623" y="2871"/>
                </a:lnTo>
                <a:lnTo>
                  <a:pt x="1631" y="2866"/>
                </a:lnTo>
                <a:lnTo>
                  <a:pt x="1636" y="2856"/>
                </a:lnTo>
                <a:lnTo>
                  <a:pt x="1640" y="2842"/>
                </a:lnTo>
                <a:lnTo>
                  <a:pt x="1652" y="2842"/>
                </a:lnTo>
                <a:lnTo>
                  <a:pt x="1660" y="2831"/>
                </a:lnTo>
                <a:lnTo>
                  <a:pt x="1667" y="2824"/>
                </a:lnTo>
                <a:lnTo>
                  <a:pt x="1672" y="2818"/>
                </a:lnTo>
                <a:lnTo>
                  <a:pt x="1676" y="2809"/>
                </a:lnTo>
                <a:lnTo>
                  <a:pt x="1680" y="2796"/>
                </a:lnTo>
                <a:lnTo>
                  <a:pt x="1680" y="2778"/>
                </a:lnTo>
                <a:lnTo>
                  <a:pt x="1681" y="2773"/>
                </a:lnTo>
                <a:lnTo>
                  <a:pt x="1683" y="2762"/>
                </a:lnTo>
                <a:lnTo>
                  <a:pt x="1681" y="2751"/>
                </a:lnTo>
                <a:lnTo>
                  <a:pt x="1680" y="2742"/>
                </a:lnTo>
                <a:lnTo>
                  <a:pt x="1669" y="2735"/>
                </a:lnTo>
                <a:lnTo>
                  <a:pt x="1669" y="2722"/>
                </a:lnTo>
                <a:lnTo>
                  <a:pt x="1663" y="2722"/>
                </a:lnTo>
                <a:lnTo>
                  <a:pt x="1660" y="2706"/>
                </a:lnTo>
                <a:lnTo>
                  <a:pt x="1656" y="2706"/>
                </a:lnTo>
                <a:lnTo>
                  <a:pt x="1656" y="2695"/>
                </a:lnTo>
                <a:lnTo>
                  <a:pt x="1652" y="2695"/>
                </a:lnTo>
                <a:lnTo>
                  <a:pt x="1652" y="2678"/>
                </a:lnTo>
                <a:lnTo>
                  <a:pt x="1643" y="2675"/>
                </a:lnTo>
                <a:lnTo>
                  <a:pt x="1640" y="2635"/>
                </a:lnTo>
                <a:lnTo>
                  <a:pt x="1651" y="2627"/>
                </a:lnTo>
                <a:lnTo>
                  <a:pt x="1654" y="2618"/>
                </a:lnTo>
                <a:lnTo>
                  <a:pt x="1656" y="2602"/>
                </a:lnTo>
                <a:lnTo>
                  <a:pt x="1649" y="2593"/>
                </a:lnTo>
                <a:lnTo>
                  <a:pt x="1645" y="2586"/>
                </a:lnTo>
                <a:lnTo>
                  <a:pt x="1643" y="2576"/>
                </a:lnTo>
                <a:lnTo>
                  <a:pt x="1640" y="2566"/>
                </a:lnTo>
                <a:lnTo>
                  <a:pt x="1636" y="2566"/>
                </a:lnTo>
                <a:lnTo>
                  <a:pt x="1632" y="2551"/>
                </a:lnTo>
                <a:lnTo>
                  <a:pt x="1629" y="2551"/>
                </a:lnTo>
                <a:lnTo>
                  <a:pt x="1629" y="2529"/>
                </a:lnTo>
                <a:lnTo>
                  <a:pt x="1616" y="2522"/>
                </a:lnTo>
                <a:lnTo>
                  <a:pt x="1612" y="2502"/>
                </a:lnTo>
                <a:lnTo>
                  <a:pt x="1603" y="2498"/>
                </a:lnTo>
                <a:lnTo>
                  <a:pt x="1603" y="2491"/>
                </a:lnTo>
                <a:lnTo>
                  <a:pt x="1600" y="2491"/>
                </a:lnTo>
                <a:lnTo>
                  <a:pt x="1600" y="2462"/>
                </a:lnTo>
                <a:lnTo>
                  <a:pt x="1589" y="2426"/>
                </a:lnTo>
                <a:lnTo>
                  <a:pt x="1580" y="2426"/>
                </a:lnTo>
                <a:lnTo>
                  <a:pt x="1576" y="2411"/>
                </a:lnTo>
                <a:lnTo>
                  <a:pt x="1572" y="2411"/>
                </a:lnTo>
                <a:lnTo>
                  <a:pt x="1572" y="2398"/>
                </a:lnTo>
                <a:lnTo>
                  <a:pt x="1563" y="2395"/>
                </a:lnTo>
                <a:lnTo>
                  <a:pt x="1556" y="2384"/>
                </a:lnTo>
                <a:lnTo>
                  <a:pt x="1549" y="2373"/>
                </a:lnTo>
                <a:lnTo>
                  <a:pt x="1543" y="2358"/>
                </a:lnTo>
                <a:lnTo>
                  <a:pt x="1532" y="2358"/>
                </a:lnTo>
                <a:lnTo>
                  <a:pt x="1532" y="2351"/>
                </a:lnTo>
                <a:lnTo>
                  <a:pt x="1518" y="2338"/>
                </a:lnTo>
                <a:lnTo>
                  <a:pt x="1507" y="2324"/>
                </a:lnTo>
                <a:lnTo>
                  <a:pt x="1496" y="2309"/>
                </a:lnTo>
                <a:lnTo>
                  <a:pt x="1476" y="2295"/>
                </a:lnTo>
                <a:lnTo>
                  <a:pt x="1476" y="2282"/>
                </a:lnTo>
                <a:lnTo>
                  <a:pt x="1465" y="2278"/>
                </a:lnTo>
                <a:lnTo>
                  <a:pt x="1458" y="2273"/>
                </a:lnTo>
                <a:lnTo>
                  <a:pt x="1452" y="2264"/>
                </a:lnTo>
                <a:lnTo>
                  <a:pt x="1452" y="2249"/>
                </a:lnTo>
                <a:lnTo>
                  <a:pt x="1440" y="2244"/>
                </a:lnTo>
                <a:lnTo>
                  <a:pt x="1436" y="2235"/>
                </a:lnTo>
                <a:lnTo>
                  <a:pt x="1436" y="2218"/>
                </a:lnTo>
                <a:lnTo>
                  <a:pt x="1429" y="2218"/>
                </a:lnTo>
                <a:lnTo>
                  <a:pt x="1423" y="2206"/>
                </a:lnTo>
                <a:lnTo>
                  <a:pt x="1420" y="2196"/>
                </a:lnTo>
                <a:lnTo>
                  <a:pt x="1414" y="2187"/>
                </a:lnTo>
                <a:lnTo>
                  <a:pt x="1411" y="2175"/>
                </a:lnTo>
                <a:lnTo>
                  <a:pt x="1409" y="2158"/>
                </a:lnTo>
                <a:lnTo>
                  <a:pt x="1432" y="2158"/>
                </a:lnTo>
                <a:lnTo>
                  <a:pt x="1432" y="2151"/>
                </a:lnTo>
                <a:lnTo>
                  <a:pt x="1440" y="2146"/>
                </a:lnTo>
                <a:lnTo>
                  <a:pt x="1440" y="2086"/>
                </a:lnTo>
                <a:lnTo>
                  <a:pt x="1449" y="2086"/>
                </a:lnTo>
                <a:lnTo>
                  <a:pt x="1443" y="2075"/>
                </a:lnTo>
                <a:lnTo>
                  <a:pt x="1440" y="2075"/>
                </a:lnTo>
                <a:lnTo>
                  <a:pt x="1438" y="2060"/>
                </a:lnTo>
                <a:lnTo>
                  <a:pt x="1441" y="2047"/>
                </a:lnTo>
                <a:lnTo>
                  <a:pt x="1447" y="2035"/>
                </a:lnTo>
                <a:lnTo>
                  <a:pt x="1452" y="2026"/>
                </a:lnTo>
                <a:lnTo>
                  <a:pt x="1460" y="2022"/>
                </a:lnTo>
                <a:lnTo>
                  <a:pt x="1460" y="1998"/>
                </a:lnTo>
                <a:lnTo>
                  <a:pt x="1469" y="1998"/>
                </a:lnTo>
                <a:lnTo>
                  <a:pt x="1467" y="1993"/>
                </a:lnTo>
                <a:lnTo>
                  <a:pt x="1463" y="1986"/>
                </a:lnTo>
                <a:lnTo>
                  <a:pt x="1463" y="1978"/>
                </a:lnTo>
                <a:lnTo>
                  <a:pt x="1463" y="1969"/>
                </a:lnTo>
                <a:lnTo>
                  <a:pt x="1469" y="1969"/>
                </a:lnTo>
                <a:lnTo>
                  <a:pt x="1469" y="1955"/>
                </a:lnTo>
                <a:lnTo>
                  <a:pt x="1460" y="1951"/>
                </a:lnTo>
                <a:lnTo>
                  <a:pt x="1460" y="1942"/>
                </a:lnTo>
                <a:lnTo>
                  <a:pt x="1456" y="1942"/>
                </a:lnTo>
                <a:lnTo>
                  <a:pt x="1452" y="1922"/>
                </a:lnTo>
                <a:lnTo>
                  <a:pt x="1432" y="1918"/>
                </a:lnTo>
                <a:lnTo>
                  <a:pt x="1429" y="1915"/>
                </a:lnTo>
                <a:lnTo>
                  <a:pt x="1427" y="1911"/>
                </a:lnTo>
                <a:lnTo>
                  <a:pt x="1423" y="1907"/>
                </a:lnTo>
                <a:lnTo>
                  <a:pt x="1421" y="1904"/>
                </a:lnTo>
                <a:lnTo>
                  <a:pt x="1420" y="1898"/>
                </a:lnTo>
                <a:lnTo>
                  <a:pt x="1416" y="1898"/>
                </a:lnTo>
                <a:lnTo>
                  <a:pt x="1416" y="1886"/>
                </a:lnTo>
                <a:lnTo>
                  <a:pt x="1396" y="1886"/>
                </a:lnTo>
                <a:lnTo>
                  <a:pt x="1396" y="1882"/>
                </a:lnTo>
                <a:lnTo>
                  <a:pt x="1372" y="1882"/>
                </a:lnTo>
                <a:lnTo>
                  <a:pt x="1372" y="1886"/>
                </a:lnTo>
                <a:lnTo>
                  <a:pt x="1343" y="1886"/>
                </a:lnTo>
                <a:lnTo>
                  <a:pt x="1343" y="1882"/>
                </a:lnTo>
                <a:lnTo>
                  <a:pt x="1340" y="1882"/>
                </a:lnTo>
                <a:lnTo>
                  <a:pt x="1332" y="1895"/>
                </a:lnTo>
                <a:lnTo>
                  <a:pt x="1256" y="1898"/>
                </a:lnTo>
                <a:lnTo>
                  <a:pt x="1252" y="1893"/>
                </a:lnTo>
                <a:lnTo>
                  <a:pt x="1249" y="1891"/>
                </a:lnTo>
                <a:lnTo>
                  <a:pt x="1245" y="1889"/>
                </a:lnTo>
                <a:lnTo>
                  <a:pt x="1243" y="1889"/>
                </a:lnTo>
                <a:lnTo>
                  <a:pt x="1240" y="1886"/>
                </a:lnTo>
                <a:lnTo>
                  <a:pt x="1240" y="1878"/>
                </a:lnTo>
                <a:lnTo>
                  <a:pt x="1232" y="1875"/>
                </a:lnTo>
                <a:lnTo>
                  <a:pt x="1223" y="1835"/>
                </a:lnTo>
                <a:lnTo>
                  <a:pt x="1216" y="1829"/>
                </a:lnTo>
                <a:lnTo>
                  <a:pt x="1216" y="1822"/>
                </a:lnTo>
                <a:lnTo>
                  <a:pt x="1209" y="1818"/>
                </a:lnTo>
                <a:lnTo>
                  <a:pt x="1209" y="1811"/>
                </a:lnTo>
                <a:lnTo>
                  <a:pt x="1203" y="1811"/>
                </a:lnTo>
                <a:lnTo>
                  <a:pt x="1203" y="1802"/>
                </a:lnTo>
                <a:lnTo>
                  <a:pt x="1176" y="1778"/>
                </a:lnTo>
                <a:lnTo>
                  <a:pt x="1100" y="1775"/>
                </a:lnTo>
                <a:lnTo>
                  <a:pt x="1100" y="1778"/>
                </a:lnTo>
                <a:lnTo>
                  <a:pt x="1016" y="1791"/>
                </a:lnTo>
                <a:lnTo>
                  <a:pt x="1016" y="1802"/>
                </a:lnTo>
                <a:lnTo>
                  <a:pt x="1012" y="1804"/>
                </a:lnTo>
                <a:lnTo>
                  <a:pt x="1009" y="1807"/>
                </a:lnTo>
                <a:lnTo>
                  <a:pt x="1007" y="1807"/>
                </a:lnTo>
                <a:lnTo>
                  <a:pt x="1003" y="1809"/>
                </a:lnTo>
                <a:lnTo>
                  <a:pt x="1000" y="1809"/>
                </a:lnTo>
                <a:lnTo>
                  <a:pt x="996" y="1809"/>
                </a:lnTo>
                <a:lnTo>
                  <a:pt x="989" y="1811"/>
                </a:lnTo>
                <a:lnTo>
                  <a:pt x="989" y="1815"/>
                </a:lnTo>
                <a:lnTo>
                  <a:pt x="943" y="1818"/>
                </a:lnTo>
                <a:lnTo>
                  <a:pt x="940" y="1826"/>
                </a:lnTo>
                <a:lnTo>
                  <a:pt x="923" y="1829"/>
                </a:lnTo>
                <a:lnTo>
                  <a:pt x="920" y="1838"/>
                </a:lnTo>
                <a:lnTo>
                  <a:pt x="903" y="1842"/>
                </a:lnTo>
                <a:lnTo>
                  <a:pt x="903" y="1846"/>
                </a:lnTo>
                <a:lnTo>
                  <a:pt x="869" y="1851"/>
                </a:lnTo>
                <a:lnTo>
                  <a:pt x="869" y="1855"/>
                </a:lnTo>
                <a:lnTo>
                  <a:pt x="860" y="1855"/>
                </a:lnTo>
                <a:lnTo>
                  <a:pt x="856" y="1862"/>
                </a:lnTo>
                <a:lnTo>
                  <a:pt x="841" y="1869"/>
                </a:lnTo>
                <a:lnTo>
                  <a:pt x="820" y="1871"/>
                </a:lnTo>
                <a:lnTo>
                  <a:pt x="809" y="1858"/>
                </a:lnTo>
                <a:lnTo>
                  <a:pt x="796" y="1856"/>
                </a:lnTo>
                <a:lnTo>
                  <a:pt x="781" y="1856"/>
                </a:lnTo>
                <a:lnTo>
                  <a:pt x="763" y="1855"/>
                </a:lnTo>
                <a:lnTo>
                  <a:pt x="763" y="1851"/>
                </a:lnTo>
                <a:lnTo>
                  <a:pt x="740" y="1851"/>
                </a:lnTo>
                <a:lnTo>
                  <a:pt x="736" y="1842"/>
                </a:lnTo>
                <a:lnTo>
                  <a:pt x="729" y="1840"/>
                </a:lnTo>
                <a:lnTo>
                  <a:pt x="714" y="1840"/>
                </a:lnTo>
                <a:lnTo>
                  <a:pt x="701" y="1840"/>
                </a:lnTo>
                <a:lnTo>
                  <a:pt x="692" y="1842"/>
                </a:lnTo>
                <a:lnTo>
                  <a:pt x="689" y="1851"/>
                </a:lnTo>
                <a:lnTo>
                  <a:pt x="663" y="1851"/>
                </a:lnTo>
                <a:lnTo>
                  <a:pt x="663" y="1846"/>
                </a:lnTo>
                <a:lnTo>
                  <a:pt x="652" y="1851"/>
                </a:lnTo>
                <a:lnTo>
                  <a:pt x="652" y="1855"/>
                </a:lnTo>
                <a:lnTo>
                  <a:pt x="629" y="1855"/>
                </a:lnTo>
                <a:lnTo>
                  <a:pt x="629" y="1858"/>
                </a:lnTo>
                <a:lnTo>
                  <a:pt x="620" y="1858"/>
                </a:lnTo>
                <a:lnTo>
                  <a:pt x="616" y="1866"/>
                </a:lnTo>
                <a:lnTo>
                  <a:pt x="609" y="1866"/>
                </a:lnTo>
                <a:lnTo>
                  <a:pt x="609" y="1871"/>
                </a:lnTo>
                <a:lnTo>
                  <a:pt x="576" y="1875"/>
                </a:lnTo>
                <a:lnTo>
                  <a:pt x="576" y="1878"/>
                </a:lnTo>
                <a:lnTo>
                  <a:pt x="563" y="1878"/>
                </a:lnTo>
                <a:lnTo>
                  <a:pt x="560" y="1886"/>
                </a:lnTo>
                <a:lnTo>
                  <a:pt x="549" y="1886"/>
                </a:lnTo>
                <a:lnTo>
                  <a:pt x="549" y="1889"/>
                </a:lnTo>
                <a:lnTo>
                  <a:pt x="509" y="1895"/>
                </a:lnTo>
                <a:lnTo>
                  <a:pt x="509" y="1889"/>
                </a:lnTo>
                <a:lnTo>
                  <a:pt x="500" y="1889"/>
                </a:lnTo>
                <a:lnTo>
                  <a:pt x="496" y="1882"/>
                </a:lnTo>
                <a:lnTo>
                  <a:pt x="483" y="1882"/>
                </a:lnTo>
                <a:lnTo>
                  <a:pt x="480" y="1875"/>
                </a:lnTo>
                <a:lnTo>
                  <a:pt x="472" y="1875"/>
                </a:lnTo>
                <a:lnTo>
                  <a:pt x="469" y="1866"/>
                </a:lnTo>
                <a:lnTo>
                  <a:pt x="460" y="1866"/>
                </a:lnTo>
                <a:lnTo>
                  <a:pt x="456" y="1858"/>
                </a:lnTo>
                <a:lnTo>
                  <a:pt x="449" y="1858"/>
                </a:lnTo>
                <a:lnTo>
                  <a:pt x="443" y="1851"/>
                </a:lnTo>
                <a:lnTo>
                  <a:pt x="429" y="1846"/>
                </a:lnTo>
                <a:lnTo>
                  <a:pt x="420" y="1835"/>
                </a:lnTo>
                <a:lnTo>
                  <a:pt x="412" y="1835"/>
                </a:lnTo>
                <a:lnTo>
                  <a:pt x="372" y="1791"/>
                </a:lnTo>
                <a:lnTo>
                  <a:pt x="363" y="1791"/>
                </a:lnTo>
                <a:lnTo>
                  <a:pt x="360" y="1782"/>
                </a:lnTo>
                <a:lnTo>
                  <a:pt x="349" y="1778"/>
                </a:lnTo>
                <a:lnTo>
                  <a:pt x="349" y="1775"/>
                </a:lnTo>
                <a:lnTo>
                  <a:pt x="332" y="1769"/>
                </a:lnTo>
                <a:lnTo>
                  <a:pt x="329" y="1762"/>
                </a:lnTo>
                <a:lnTo>
                  <a:pt x="316" y="1762"/>
                </a:lnTo>
                <a:lnTo>
                  <a:pt x="309" y="1742"/>
                </a:lnTo>
                <a:lnTo>
                  <a:pt x="300" y="1742"/>
                </a:lnTo>
                <a:lnTo>
                  <a:pt x="300" y="1738"/>
                </a:lnTo>
                <a:lnTo>
                  <a:pt x="292" y="1738"/>
                </a:lnTo>
                <a:lnTo>
                  <a:pt x="289" y="1731"/>
                </a:lnTo>
                <a:lnTo>
                  <a:pt x="276" y="1731"/>
                </a:lnTo>
                <a:lnTo>
                  <a:pt x="269" y="1718"/>
                </a:lnTo>
                <a:lnTo>
                  <a:pt x="265" y="1716"/>
                </a:lnTo>
                <a:lnTo>
                  <a:pt x="261" y="1716"/>
                </a:lnTo>
                <a:lnTo>
                  <a:pt x="260" y="1716"/>
                </a:lnTo>
                <a:lnTo>
                  <a:pt x="258" y="1716"/>
                </a:lnTo>
                <a:lnTo>
                  <a:pt x="258" y="1716"/>
                </a:lnTo>
                <a:lnTo>
                  <a:pt x="256" y="1716"/>
                </a:lnTo>
                <a:lnTo>
                  <a:pt x="254" y="1715"/>
                </a:lnTo>
                <a:lnTo>
                  <a:pt x="254" y="1711"/>
                </a:lnTo>
                <a:lnTo>
                  <a:pt x="252" y="1706"/>
                </a:lnTo>
                <a:lnTo>
                  <a:pt x="240" y="1706"/>
                </a:lnTo>
                <a:lnTo>
                  <a:pt x="236" y="1689"/>
                </a:lnTo>
                <a:lnTo>
                  <a:pt x="232" y="1689"/>
                </a:lnTo>
                <a:lnTo>
                  <a:pt x="232" y="1678"/>
                </a:lnTo>
                <a:lnTo>
                  <a:pt x="216" y="1671"/>
                </a:lnTo>
                <a:lnTo>
                  <a:pt x="212" y="1622"/>
                </a:lnTo>
                <a:lnTo>
                  <a:pt x="216" y="1622"/>
                </a:lnTo>
                <a:lnTo>
                  <a:pt x="216" y="1618"/>
                </a:lnTo>
                <a:lnTo>
                  <a:pt x="209" y="1615"/>
                </a:lnTo>
                <a:lnTo>
                  <a:pt x="203" y="1602"/>
                </a:lnTo>
                <a:lnTo>
                  <a:pt x="192" y="1595"/>
                </a:lnTo>
                <a:lnTo>
                  <a:pt x="192" y="1582"/>
                </a:lnTo>
                <a:lnTo>
                  <a:pt x="189" y="1582"/>
                </a:lnTo>
                <a:lnTo>
                  <a:pt x="189" y="1578"/>
                </a:lnTo>
                <a:lnTo>
                  <a:pt x="185" y="1576"/>
                </a:lnTo>
                <a:lnTo>
                  <a:pt x="180" y="1575"/>
                </a:lnTo>
                <a:lnTo>
                  <a:pt x="176" y="1575"/>
                </a:lnTo>
                <a:lnTo>
                  <a:pt x="171" y="1573"/>
                </a:lnTo>
                <a:lnTo>
                  <a:pt x="169" y="1569"/>
                </a:lnTo>
                <a:lnTo>
                  <a:pt x="169" y="1562"/>
                </a:lnTo>
                <a:lnTo>
                  <a:pt x="149" y="1558"/>
                </a:lnTo>
                <a:lnTo>
                  <a:pt x="143" y="1547"/>
                </a:lnTo>
                <a:lnTo>
                  <a:pt x="140" y="1540"/>
                </a:lnTo>
                <a:lnTo>
                  <a:pt x="134" y="1531"/>
                </a:lnTo>
                <a:lnTo>
                  <a:pt x="132" y="1518"/>
                </a:lnTo>
                <a:lnTo>
                  <a:pt x="118" y="1511"/>
                </a:lnTo>
                <a:lnTo>
                  <a:pt x="111" y="1498"/>
                </a:lnTo>
                <a:lnTo>
                  <a:pt x="109" y="1478"/>
                </a:lnTo>
                <a:lnTo>
                  <a:pt x="107" y="1476"/>
                </a:lnTo>
                <a:lnTo>
                  <a:pt x="105" y="1476"/>
                </a:lnTo>
                <a:lnTo>
                  <a:pt x="105" y="1475"/>
                </a:lnTo>
                <a:lnTo>
                  <a:pt x="105" y="1475"/>
                </a:lnTo>
                <a:lnTo>
                  <a:pt x="105" y="1473"/>
                </a:lnTo>
                <a:lnTo>
                  <a:pt x="103" y="1469"/>
                </a:lnTo>
                <a:lnTo>
                  <a:pt x="92" y="1469"/>
                </a:lnTo>
                <a:lnTo>
                  <a:pt x="92" y="1478"/>
                </a:lnTo>
                <a:lnTo>
                  <a:pt x="72" y="1478"/>
                </a:lnTo>
                <a:lnTo>
                  <a:pt x="69" y="1462"/>
                </a:lnTo>
                <a:lnTo>
                  <a:pt x="56" y="1458"/>
                </a:lnTo>
                <a:lnTo>
                  <a:pt x="54" y="1453"/>
                </a:lnTo>
                <a:lnTo>
                  <a:pt x="52" y="1449"/>
                </a:lnTo>
                <a:lnTo>
                  <a:pt x="51" y="1446"/>
                </a:lnTo>
                <a:lnTo>
                  <a:pt x="49" y="1444"/>
                </a:lnTo>
                <a:lnTo>
                  <a:pt x="45" y="1440"/>
                </a:lnTo>
                <a:lnTo>
                  <a:pt x="43" y="1435"/>
                </a:lnTo>
                <a:lnTo>
                  <a:pt x="29" y="1435"/>
                </a:lnTo>
                <a:lnTo>
                  <a:pt x="25" y="1416"/>
                </a:lnTo>
                <a:lnTo>
                  <a:pt x="23" y="1395"/>
                </a:lnTo>
                <a:lnTo>
                  <a:pt x="27" y="1386"/>
                </a:lnTo>
                <a:lnTo>
                  <a:pt x="27" y="1376"/>
                </a:lnTo>
                <a:lnTo>
                  <a:pt x="27" y="1366"/>
                </a:lnTo>
                <a:lnTo>
                  <a:pt x="29" y="1355"/>
                </a:lnTo>
                <a:lnTo>
                  <a:pt x="32" y="1355"/>
                </a:lnTo>
                <a:lnTo>
                  <a:pt x="34" y="1351"/>
                </a:lnTo>
                <a:lnTo>
                  <a:pt x="34" y="1347"/>
                </a:lnTo>
                <a:lnTo>
                  <a:pt x="36" y="1344"/>
                </a:lnTo>
                <a:lnTo>
                  <a:pt x="36" y="1338"/>
                </a:lnTo>
                <a:lnTo>
                  <a:pt x="23" y="1335"/>
                </a:lnTo>
                <a:lnTo>
                  <a:pt x="20" y="1322"/>
                </a:lnTo>
                <a:lnTo>
                  <a:pt x="14" y="1311"/>
                </a:lnTo>
                <a:lnTo>
                  <a:pt x="7" y="1302"/>
                </a:lnTo>
                <a:lnTo>
                  <a:pt x="3" y="1291"/>
                </a:lnTo>
                <a:lnTo>
                  <a:pt x="0" y="1275"/>
                </a:lnTo>
                <a:lnTo>
                  <a:pt x="14" y="1264"/>
                </a:lnTo>
                <a:lnTo>
                  <a:pt x="27" y="1251"/>
                </a:lnTo>
                <a:lnTo>
                  <a:pt x="36" y="1235"/>
                </a:lnTo>
                <a:lnTo>
                  <a:pt x="40" y="1235"/>
                </a:lnTo>
                <a:lnTo>
                  <a:pt x="43" y="1209"/>
                </a:lnTo>
                <a:lnTo>
                  <a:pt x="49" y="1209"/>
                </a:lnTo>
                <a:lnTo>
                  <a:pt x="52" y="1166"/>
                </a:lnTo>
                <a:lnTo>
                  <a:pt x="60" y="1162"/>
                </a:lnTo>
                <a:lnTo>
                  <a:pt x="63" y="1142"/>
                </a:lnTo>
                <a:lnTo>
                  <a:pt x="69" y="1142"/>
                </a:lnTo>
                <a:lnTo>
                  <a:pt x="69" y="1135"/>
                </a:lnTo>
                <a:lnTo>
                  <a:pt x="72" y="1135"/>
                </a:lnTo>
                <a:lnTo>
                  <a:pt x="78" y="1113"/>
                </a:lnTo>
                <a:lnTo>
                  <a:pt x="76" y="1089"/>
                </a:lnTo>
                <a:lnTo>
                  <a:pt x="72" y="1066"/>
                </a:lnTo>
                <a:lnTo>
                  <a:pt x="72" y="1049"/>
                </a:lnTo>
                <a:lnTo>
                  <a:pt x="56" y="1038"/>
                </a:lnTo>
                <a:lnTo>
                  <a:pt x="60" y="1002"/>
                </a:lnTo>
                <a:lnTo>
                  <a:pt x="63" y="1002"/>
                </a:lnTo>
                <a:lnTo>
                  <a:pt x="63" y="995"/>
                </a:lnTo>
                <a:lnTo>
                  <a:pt x="69" y="995"/>
                </a:lnTo>
                <a:lnTo>
                  <a:pt x="69" y="982"/>
                </a:lnTo>
                <a:lnTo>
                  <a:pt x="67" y="971"/>
                </a:lnTo>
                <a:lnTo>
                  <a:pt x="63" y="962"/>
                </a:lnTo>
                <a:lnTo>
                  <a:pt x="52" y="962"/>
                </a:lnTo>
                <a:lnTo>
                  <a:pt x="52" y="955"/>
                </a:lnTo>
                <a:lnTo>
                  <a:pt x="51" y="956"/>
                </a:lnTo>
                <a:lnTo>
                  <a:pt x="49" y="956"/>
                </a:lnTo>
                <a:lnTo>
                  <a:pt x="49" y="956"/>
                </a:lnTo>
                <a:lnTo>
                  <a:pt x="49" y="958"/>
                </a:lnTo>
                <a:lnTo>
                  <a:pt x="49" y="958"/>
                </a:lnTo>
                <a:lnTo>
                  <a:pt x="49" y="962"/>
                </a:lnTo>
                <a:lnTo>
                  <a:pt x="23" y="962"/>
                </a:lnTo>
                <a:lnTo>
                  <a:pt x="29" y="902"/>
                </a:lnTo>
                <a:lnTo>
                  <a:pt x="36" y="902"/>
                </a:lnTo>
                <a:lnTo>
                  <a:pt x="36" y="871"/>
                </a:lnTo>
                <a:lnTo>
                  <a:pt x="63" y="849"/>
                </a:lnTo>
                <a:lnTo>
                  <a:pt x="69" y="831"/>
                </a:lnTo>
                <a:lnTo>
                  <a:pt x="72" y="831"/>
                </a:lnTo>
                <a:lnTo>
                  <a:pt x="76" y="815"/>
                </a:lnTo>
                <a:lnTo>
                  <a:pt x="80" y="815"/>
                </a:lnTo>
                <a:lnTo>
                  <a:pt x="80" y="802"/>
                </a:lnTo>
                <a:lnTo>
                  <a:pt x="89" y="798"/>
                </a:lnTo>
                <a:lnTo>
                  <a:pt x="92" y="769"/>
                </a:lnTo>
                <a:lnTo>
                  <a:pt x="92" y="769"/>
                </a:lnTo>
                <a:lnTo>
                  <a:pt x="94" y="767"/>
                </a:lnTo>
                <a:lnTo>
                  <a:pt x="96" y="767"/>
                </a:lnTo>
                <a:lnTo>
                  <a:pt x="98" y="766"/>
                </a:lnTo>
                <a:lnTo>
                  <a:pt x="98" y="764"/>
                </a:lnTo>
                <a:lnTo>
                  <a:pt x="100" y="758"/>
                </a:lnTo>
                <a:lnTo>
                  <a:pt x="109" y="758"/>
                </a:lnTo>
                <a:lnTo>
                  <a:pt x="149" y="715"/>
                </a:lnTo>
                <a:lnTo>
                  <a:pt x="156" y="709"/>
                </a:lnTo>
                <a:lnTo>
                  <a:pt x="156" y="675"/>
                </a:lnTo>
                <a:lnTo>
                  <a:pt x="160" y="675"/>
                </a:lnTo>
                <a:lnTo>
                  <a:pt x="163" y="658"/>
                </a:lnTo>
                <a:lnTo>
                  <a:pt x="172" y="655"/>
                </a:lnTo>
                <a:lnTo>
                  <a:pt x="172" y="646"/>
                </a:lnTo>
                <a:lnTo>
                  <a:pt x="176" y="646"/>
                </a:lnTo>
                <a:lnTo>
                  <a:pt x="176" y="629"/>
                </a:lnTo>
                <a:lnTo>
                  <a:pt x="180" y="629"/>
                </a:lnTo>
                <a:lnTo>
                  <a:pt x="183" y="626"/>
                </a:lnTo>
                <a:lnTo>
                  <a:pt x="187" y="624"/>
                </a:lnTo>
                <a:lnTo>
                  <a:pt x="191" y="624"/>
                </a:lnTo>
                <a:lnTo>
                  <a:pt x="194" y="624"/>
                </a:lnTo>
                <a:lnTo>
                  <a:pt x="196" y="624"/>
                </a:lnTo>
                <a:lnTo>
                  <a:pt x="200" y="624"/>
                </a:lnTo>
                <a:lnTo>
                  <a:pt x="203" y="622"/>
                </a:lnTo>
                <a:lnTo>
                  <a:pt x="212" y="611"/>
                </a:lnTo>
                <a:lnTo>
                  <a:pt x="220" y="611"/>
                </a:lnTo>
                <a:lnTo>
                  <a:pt x="223" y="602"/>
                </a:lnTo>
                <a:lnTo>
                  <a:pt x="229" y="602"/>
                </a:lnTo>
                <a:lnTo>
                  <a:pt x="229" y="595"/>
                </a:lnTo>
                <a:lnTo>
                  <a:pt x="236" y="589"/>
                </a:lnTo>
                <a:lnTo>
                  <a:pt x="236" y="582"/>
                </a:lnTo>
                <a:lnTo>
                  <a:pt x="243" y="578"/>
                </a:lnTo>
                <a:lnTo>
                  <a:pt x="243" y="558"/>
                </a:lnTo>
                <a:lnTo>
                  <a:pt x="249" y="558"/>
                </a:lnTo>
                <a:lnTo>
                  <a:pt x="251" y="555"/>
                </a:lnTo>
                <a:lnTo>
                  <a:pt x="252" y="551"/>
                </a:lnTo>
                <a:lnTo>
                  <a:pt x="254" y="549"/>
                </a:lnTo>
                <a:lnTo>
                  <a:pt x="254" y="544"/>
                </a:lnTo>
                <a:lnTo>
                  <a:pt x="256" y="538"/>
                </a:lnTo>
                <a:lnTo>
                  <a:pt x="280" y="531"/>
                </a:lnTo>
                <a:lnTo>
                  <a:pt x="280" y="526"/>
                </a:lnTo>
                <a:lnTo>
                  <a:pt x="320" y="522"/>
                </a:lnTo>
                <a:lnTo>
                  <a:pt x="320" y="518"/>
                </a:lnTo>
                <a:lnTo>
                  <a:pt x="329" y="518"/>
                </a:lnTo>
                <a:lnTo>
                  <a:pt x="329" y="515"/>
                </a:lnTo>
                <a:lnTo>
                  <a:pt x="349" y="509"/>
                </a:lnTo>
                <a:lnTo>
                  <a:pt x="372" y="482"/>
                </a:lnTo>
                <a:lnTo>
                  <a:pt x="389" y="478"/>
                </a:lnTo>
                <a:lnTo>
                  <a:pt x="443" y="415"/>
                </a:lnTo>
                <a:lnTo>
                  <a:pt x="441" y="398"/>
                </a:lnTo>
                <a:lnTo>
                  <a:pt x="436" y="380"/>
                </a:lnTo>
                <a:lnTo>
                  <a:pt x="434" y="362"/>
                </a:lnTo>
                <a:lnTo>
                  <a:pt x="436" y="342"/>
                </a:lnTo>
                <a:lnTo>
                  <a:pt x="445" y="320"/>
                </a:lnTo>
                <a:lnTo>
                  <a:pt x="460" y="302"/>
                </a:lnTo>
                <a:lnTo>
                  <a:pt x="472" y="295"/>
                </a:lnTo>
                <a:lnTo>
                  <a:pt x="472" y="271"/>
                </a:lnTo>
                <a:lnTo>
                  <a:pt x="476" y="271"/>
                </a:lnTo>
                <a:lnTo>
                  <a:pt x="496" y="246"/>
                </a:lnTo>
                <a:lnTo>
                  <a:pt x="503" y="246"/>
                </a:lnTo>
                <a:lnTo>
                  <a:pt x="520" y="226"/>
                </a:lnTo>
                <a:lnTo>
                  <a:pt x="529" y="226"/>
                </a:lnTo>
                <a:lnTo>
                  <a:pt x="529" y="222"/>
                </a:lnTo>
                <a:lnTo>
                  <a:pt x="536" y="222"/>
                </a:lnTo>
                <a:lnTo>
                  <a:pt x="536" y="218"/>
                </a:lnTo>
                <a:lnTo>
                  <a:pt x="549" y="218"/>
                </a:lnTo>
                <a:lnTo>
                  <a:pt x="549" y="215"/>
                </a:lnTo>
                <a:lnTo>
                  <a:pt x="563" y="209"/>
                </a:lnTo>
                <a:lnTo>
                  <a:pt x="563" y="206"/>
                </a:lnTo>
                <a:lnTo>
                  <a:pt x="583" y="202"/>
                </a:lnTo>
                <a:lnTo>
                  <a:pt x="589" y="195"/>
                </a:lnTo>
                <a:lnTo>
                  <a:pt x="596" y="195"/>
                </a:lnTo>
                <a:lnTo>
                  <a:pt x="603" y="182"/>
                </a:lnTo>
                <a:lnTo>
                  <a:pt x="609" y="182"/>
                </a:lnTo>
                <a:lnTo>
                  <a:pt x="609" y="175"/>
                </a:lnTo>
                <a:lnTo>
                  <a:pt x="620" y="166"/>
                </a:lnTo>
                <a:lnTo>
                  <a:pt x="620" y="158"/>
                </a:lnTo>
                <a:lnTo>
                  <a:pt x="623" y="158"/>
                </a:lnTo>
                <a:lnTo>
                  <a:pt x="623" y="149"/>
                </a:lnTo>
                <a:lnTo>
                  <a:pt x="629" y="149"/>
                </a:lnTo>
                <a:lnTo>
                  <a:pt x="629" y="142"/>
                </a:lnTo>
                <a:lnTo>
                  <a:pt x="632" y="142"/>
                </a:lnTo>
                <a:lnTo>
                  <a:pt x="632" y="135"/>
                </a:lnTo>
                <a:lnTo>
                  <a:pt x="640" y="131"/>
                </a:lnTo>
                <a:lnTo>
                  <a:pt x="640" y="122"/>
                </a:lnTo>
                <a:lnTo>
                  <a:pt x="643" y="122"/>
                </a:lnTo>
                <a:lnTo>
                  <a:pt x="643" y="115"/>
                </a:lnTo>
                <a:lnTo>
                  <a:pt x="649" y="115"/>
                </a:lnTo>
                <a:lnTo>
                  <a:pt x="649" y="106"/>
                </a:lnTo>
                <a:lnTo>
                  <a:pt x="652" y="106"/>
                </a:lnTo>
                <a:lnTo>
                  <a:pt x="652" y="98"/>
                </a:lnTo>
                <a:lnTo>
                  <a:pt x="656" y="98"/>
                </a:lnTo>
                <a:lnTo>
                  <a:pt x="660" y="86"/>
                </a:lnTo>
                <a:lnTo>
                  <a:pt x="700" y="82"/>
                </a:lnTo>
                <a:lnTo>
                  <a:pt x="705" y="93"/>
                </a:lnTo>
                <a:lnTo>
                  <a:pt x="712" y="106"/>
                </a:lnTo>
                <a:lnTo>
                  <a:pt x="720" y="115"/>
                </a:lnTo>
                <a:lnTo>
                  <a:pt x="723" y="116"/>
                </a:lnTo>
                <a:lnTo>
                  <a:pt x="725" y="116"/>
                </a:lnTo>
                <a:lnTo>
                  <a:pt x="729" y="116"/>
                </a:lnTo>
                <a:lnTo>
                  <a:pt x="731" y="118"/>
                </a:lnTo>
                <a:lnTo>
                  <a:pt x="732" y="118"/>
                </a:lnTo>
                <a:lnTo>
                  <a:pt x="736" y="122"/>
                </a:lnTo>
                <a:lnTo>
                  <a:pt x="776" y="118"/>
                </a:lnTo>
                <a:lnTo>
                  <a:pt x="776" y="122"/>
                </a:lnTo>
                <a:lnTo>
                  <a:pt x="792" y="122"/>
                </a:lnTo>
                <a:lnTo>
                  <a:pt x="796" y="115"/>
                </a:lnTo>
                <a:lnTo>
                  <a:pt x="811" y="111"/>
                </a:lnTo>
                <a:lnTo>
                  <a:pt x="829" y="111"/>
                </a:lnTo>
                <a:lnTo>
                  <a:pt x="831" y="113"/>
                </a:lnTo>
                <a:lnTo>
                  <a:pt x="832" y="116"/>
                </a:lnTo>
                <a:lnTo>
                  <a:pt x="832" y="118"/>
                </a:lnTo>
                <a:lnTo>
                  <a:pt x="834" y="122"/>
                </a:lnTo>
                <a:lnTo>
                  <a:pt x="836" y="126"/>
                </a:lnTo>
                <a:lnTo>
                  <a:pt x="856" y="124"/>
                </a:lnTo>
                <a:lnTo>
                  <a:pt x="872" y="120"/>
                </a:lnTo>
                <a:lnTo>
                  <a:pt x="889" y="115"/>
                </a:lnTo>
                <a:lnTo>
                  <a:pt x="891" y="109"/>
                </a:lnTo>
                <a:lnTo>
                  <a:pt x="894" y="107"/>
                </a:lnTo>
                <a:lnTo>
                  <a:pt x="896" y="104"/>
                </a:lnTo>
                <a:lnTo>
                  <a:pt x="898" y="100"/>
                </a:lnTo>
                <a:lnTo>
                  <a:pt x="900" y="95"/>
                </a:lnTo>
                <a:lnTo>
                  <a:pt x="916" y="91"/>
                </a:lnTo>
                <a:lnTo>
                  <a:pt x="932" y="86"/>
                </a:lnTo>
                <a:lnTo>
                  <a:pt x="932" y="82"/>
                </a:lnTo>
                <a:lnTo>
                  <a:pt x="960" y="82"/>
                </a:lnTo>
                <a:lnTo>
                  <a:pt x="972" y="66"/>
                </a:lnTo>
                <a:lnTo>
                  <a:pt x="983" y="66"/>
                </a:lnTo>
                <a:lnTo>
                  <a:pt x="992" y="55"/>
                </a:lnTo>
                <a:lnTo>
                  <a:pt x="1012" y="55"/>
                </a:lnTo>
                <a:lnTo>
                  <a:pt x="1012" y="51"/>
                </a:lnTo>
                <a:lnTo>
                  <a:pt x="1023" y="51"/>
                </a:lnTo>
                <a:lnTo>
                  <a:pt x="1023" y="46"/>
                </a:lnTo>
                <a:lnTo>
                  <a:pt x="1032" y="46"/>
                </a:lnTo>
                <a:lnTo>
                  <a:pt x="1032" y="42"/>
                </a:lnTo>
                <a:lnTo>
                  <a:pt x="1096" y="42"/>
                </a:lnTo>
                <a:lnTo>
                  <a:pt x="1103" y="29"/>
                </a:lnTo>
                <a:lnTo>
                  <a:pt x="1209" y="26"/>
                </a:lnTo>
                <a:lnTo>
                  <a:pt x="1249" y="35"/>
                </a:lnTo>
                <a:lnTo>
                  <a:pt x="1249" y="29"/>
                </a:lnTo>
                <a:lnTo>
                  <a:pt x="1269" y="29"/>
                </a:lnTo>
                <a:lnTo>
                  <a:pt x="1272" y="22"/>
                </a:lnTo>
                <a:lnTo>
                  <a:pt x="1289" y="16"/>
                </a:lnTo>
                <a:lnTo>
                  <a:pt x="1312" y="15"/>
                </a:lnTo>
                <a:lnTo>
                  <a:pt x="1316" y="26"/>
                </a:lnTo>
                <a:lnTo>
                  <a:pt x="1320" y="26"/>
                </a:lnTo>
                <a:lnTo>
                  <a:pt x="1323" y="24"/>
                </a:lnTo>
                <a:lnTo>
                  <a:pt x="1325" y="24"/>
                </a:lnTo>
                <a:lnTo>
                  <a:pt x="1325" y="22"/>
                </a:lnTo>
                <a:lnTo>
                  <a:pt x="1327" y="18"/>
                </a:lnTo>
                <a:lnTo>
                  <a:pt x="1329" y="15"/>
                </a:lnTo>
                <a:lnTo>
                  <a:pt x="1356" y="15"/>
                </a:lnTo>
                <a:lnTo>
                  <a:pt x="1356" y="18"/>
                </a:lnTo>
                <a:lnTo>
                  <a:pt x="1365" y="22"/>
                </a:lnTo>
                <a:lnTo>
                  <a:pt x="1380" y="26"/>
                </a:lnTo>
                <a:lnTo>
                  <a:pt x="1394" y="27"/>
                </a:lnTo>
                <a:lnTo>
                  <a:pt x="1409" y="26"/>
                </a:lnTo>
                <a:lnTo>
                  <a:pt x="1412" y="18"/>
                </a:lnTo>
                <a:lnTo>
                  <a:pt x="1436" y="15"/>
                </a:lnTo>
                <a:lnTo>
                  <a:pt x="1436" y="9"/>
                </a:lnTo>
                <a:lnTo>
                  <a:pt x="1443" y="7"/>
                </a:lnTo>
                <a:lnTo>
                  <a:pt x="1456" y="4"/>
                </a:lnTo>
                <a:lnTo>
                  <a:pt x="1469" y="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3175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619125" y="339725"/>
            <a:ext cx="11572875" cy="7239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ngerous Goods Part 92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28784F-A699-4625-B93B-33CC9C6A0C76}"/>
              </a:ext>
            </a:extLst>
          </p:cNvPr>
          <p:cNvSpPr/>
          <p:nvPr/>
        </p:nvSpPr>
        <p:spPr>
          <a:xfrm>
            <a:off x="6645098" y="1151568"/>
            <a:ext cx="108000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A1C2DD0-D84A-42C5-AFD9-CA5AA32F8862}"/>
              </a:ext>
            </a:extLst>
          </p:cNvPr>
          <p:cNvSpPr/>
          <p:nvPr/>
        </p:nvSpPr>
        <p:spPr>
          <a:xfrm>
            <a:off x="6645098" y="2225694"/>
            <a:ext cx="108000" cy="90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6E033F-4C0D-4CE9-B412-348DC9BEA1F4}"/>
              </a:ext>
            </a:extLst>
          </p:cNvPr>
          <p:cNvSpPr/>
          <p:nvPr/>
        </p:nvSpPr>
        <p:spPr>
          <a:xfrm>
            <a:off x="6645098" y="3299820"/>
            <a:ext cx="108000" cy="90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BFC8E2-A019-42AA-94BA-EC70DF9F4700}"/>
              </a:ext>
            </a:extLst>
          </p:cNvPr>
          <p:cNvSpPr/>
          <p:nvPr/>
        </p:nvSpPr>
        <p:spPr>
          <a:xfrm>
            <a:off x="6645098" y="4409540"/>
            <a:ext cx="108000" cy="90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pSp>
        <p:nvGrpSpPr>
          <p:cNvPr id="8" name="그룹 5">
            <a:extLst>
              <a:ext uri="{FF2B5EF4-FFF2-40B4-BE49-F238E27FC236}">
                <a16:creationId xmlns:a16="http://schemas.microsoft.com/office/drawing/2014/main" id="{1F569137-D9AB-4B4F-B754-D22C94775494}"/>
              </a:ext>
            </a:extLst>
          </p:cNvPr>
          <p:cNvGrpSpPr/>
          <p:nvPr/>
        </p:nvGrpSpPr>
        <p:grpSpPr>
          <a:xfrm>
            <a:off x="6900679" y="1130701"/>
            <a:ext cx="4495506" cy="568721"/>
            <a:chOff x="7036400" y="1830573"/>
            <a:chExt cx="4495506" cy="568721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F22331B-B24B-43F1-9BBC-B1216152ABD4}"/>
                </a:ext>
              </a:extLst>
            </p:cNvPr>
            <p:cNvSpPr txBox="1"/>
            <p:nvPr/>
          </p:nvSpPr>
          <p:spPr>
            <a:xfrm>
              <a:off x="7036400" y="1830573"/>
              <a:ext cx="44955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angerous Goods Overview</a:t>
              </a:r>
              <a:endPara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678BC25-9F70-4C6B-80AB-EEBA5DE4DA9E}"/>
                </a:ext>
              </a:extLst>
            </p:cNvPr>
            <p:cNvSpPr txBox="1"/>
            <p:nvPr/>
          </p:nvSpPr>
          <p:spPr>
            <a:xfrm>
              <a:off x="7036400" y="2091517"/>
              <a:ext cx="44955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pplicability and scope</a:t>
              </a:r>
            </a:p>
          </p:txBody>
        </p:sp>
      </p:grpSp>
      <p:grpSp>
        <p:nvGrpSpPr>
          <p:cNvPr id="11" name="그룹 6">
            <a:extLst>
              <a:ext uri="{FF2B5EF4-FFF2-40B4-BE49-F238E27FC236}">
                <a16:creationId xmlns:a16="http://schemas.microsoft.com/office/drawing/2014/main" id="{488472ED-558C-422D-85E7-DB46DD3B8A3F}"/>
              </a:ext>
            </a:extLst>
          </p:cNvPr>
          <p:cNvGrpSpPr/>
          <p:nvPr/>
        </p:nvGrpSpPr>
        <p:grpSpPr>
          <a:xfrm>
            <a:off x="6900679" y="2186104"/>
            <a:ext cx="4495506" cy="568721"/>
            <a:chOff x="7036400" y="2943499"/>
            <a:chExt cx="4495506" cy="568721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AE13FBC-6877-4C4F-B455-83D1E40698DD}"/>
                </a:ext>
              </a:extLst>
            </p:cNvPr>
            <p:cNvSpPr txBox="1"/>
            <p:nvPr/>
          </p:nvSpPr>
          <p:spPr>
            <a:xfrm>
              <a:off x="7036400" y="2943499"/>
              <a:ext cx="44955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Why the Change?</a:t>
              </a:r>
              <a:endPara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411700D-ADAB-466D-90AB-F42DD3B3D3E5}"/>
                </a:ext>
              </a:extLst>
            </p:cNvPr>
            <p:cNvSpPr txBox="1"/>
            <p:nvPr/>
          </p:nvSpPr>
          <p:spPr>
            <a:xfrm>
              <a:off x="7036400" y="3204443"/>
              <a:ext cx="44955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altLang="ko-K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Part 92 Reasons for revision</a:t>
              </a:r>
              <a:endPara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14" name="그룹 24">
            <a:extLst>
              <a:ext uri="{FF2B5EF4-FFF2-40B4-BE49-F238E27FC236}">
                <a16:creationId xmlns:a16="http://schemas.microsoft.com/office/drawing/2014/main" id="{0660AB04-0A39-4059-92FA-73F9C4ED16A6}"/>
              </a:ext>
            </a:extLst>
          </p:cNvPr>
          <p:cNvGrpSpPr/>
          <p:nvPr/>
        </p:nvGrpSpPr>
        <p:grpSpPr>
          <a:xfrm>
            <a:off x="6946901" y="4359090"/>
            <a:ext cx="4495506" cy="568721"/>
            <a:chOff x="7036400" y="5169352"/>
            <a:chExt cx="4495506" cy="568721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F3A5C36-3E92-44C1-9503-C922D812DF73}"/>
                </a:ext>
              </a:extLst>
            </p:cNvPr>
            <p:cNvSpPr txBox="1"/>
            <p:nvPr/>
          </p:nvSpPr>
          <p:spPr>
            <a:xfrm>
              <a:off x="7036400" y="5169352"/>
              <a:ext cx="44955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raining &amp; Instructors  </a:t>
              </a:r>
              <a:endPara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88C622A-3922-4358-B38E-DF2CB351E7AC}"/>
                </a:ext>
              </a:extLst>
            </p:cNvPr>
            <p:cNvSpPr txBox="1"/>
            <p:nvPr/>
          </p:nvSpPr>
          <p:spPr>
            <a:xfrm>
              <a:off x="7036400" y="5430296"/>
              <a:ext cx="44955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altLang="ko-K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Part 92 </a:t>
              </a:r>
              <a:endParaRPr lang="ko-KR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17" name="그룹 7">
            <a:extLst>
              <a:ext uri="{FF2B5EF4-FFF2-40B4-BE49-F238E27FC236}">
                <a16:creationId xmlns:a16="http://schemas.microsoft.com/office/drawing/2014/main" id="{F5E03E64-808C-40E0-8ADF-06CF175D1B4D}"/>
              </a:ext>
            </a:extLst>
          </p:cNvPr>
          <p:cNvGrpSpPr/>
          <p:nvPr/>
        </p:nvGrpSpPr>
        <p:grpSpPr>
          <a:xfrm>
            <a:off x="6869148" y="3506421"/>
            <a:ext cx="4495506" cy="568721"/>
            <a:chOff x="7036400" y="4056425"/>
            <a:chExt cx="4495506" cy="5687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6EF21AF-4950-4B33-92BC-2E7FBF5708EB}"/>
                </a:ext>
              </a:extLst>
            </p:cNvPr>
            <p:cNvSpPr txBox="1"/>
            <p:nvPr/>
          </p:nvSpPr>
          <p:spPr>
            <a:xfrm>
              <a:off x="7036400" y="4056425"/>
              <a:ext cx="44955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What are the Changes?</a:t>
              </a:r>
              <a:endPara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91EFEB0-1D95-4C3A-8DA1-03780B169B5D}"/>
                </a:ext>
              </a:extLst>
            </p:cNvPr>
            <p:cNvSpPr txBox="1"/>
            <p:nvPr/>
          </p:nvSpPr>
          <p:spPr>
            <a:xfrm>
              <a:off x="7036400" y="4317369"/>
              <a:ext cx="44955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altLang="ko-K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Part 92 amendments overview</a:t>
              </a:r>
              <a:endPara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743E047B-732D-C051-E238-2B2BBC2CEE3C}"/>
              </a:ext>
            </a:extLst>
          </p:cNvPr>
          <p:cNvSpPr/>
          <p:nvPr/>
        </p:nvSpPr>
        <p:spPr>
          <a:xfrm>
            <a:off x="6645098" y="5432921"/>
            <a:ext cx="108000" cy="90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A512B5-E4FC-FAD6-CCFF-09C268D903F7}"/>
              </a:ext>
            </a:extLst>
          </p:cNvPr>
          <p:cNvSpPr txBox="1"/>
          <p:nvPr/>
        </p:nvSpPr>
        <p:spPr>
          <a:xfrm>
            <a:off x="6875159" y="5313199"/>
            <a:ext cx="45465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US" altLang="ko-KR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llaborative work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8A11BA7-AF6A-63CD-0DB2-474F6DEE0A67}"/>
              </a:ext>
            </a:extLst>
          </p:cNvPr>
          <p:cNvSpPr txBox="1"/>
          <p:nvPr/>
        </p:nvSpPr>
        <p:spPr>
          <a:xfrm>
            <a:off x="6964341" y="5612707"/>
            <a:ext cx="44955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llaborative work  domestic, Regional and International</a:t>
            </a:r>
          </a:p>
        </p:txBody>
      </p:sp>
      <p:sp>
        <p:nvSpPr>
          <p:cNvPr id="102" name="타원 3">
            <a:extLst>
              <a:ext uri="{FF2B5EF4-FFF2-40B4-BE49-F238E27FC236}">
                <a16:creationId xmlns:a16="http://schemas.microsoft.com/office/drawing/2014/main" id="{83CED5AC-8773-9D82-92F5-76BEF7E88F52}"/>
              </a:ext>
            </a:extLst>
          </p:cNvPr>
          <p:cNvSpPr/>
          <p:nvPr/>
        </p:nvSpPr>
        <p:spPr>
          <a:xfrm>
            <a:off x="3115655" y="1523992"/>
            <a:ext cx="1613762" cy="1613762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3" name="타원 110">
            <a:extLst>
              <a:ext uri="{FF2B5EF4-FFF2-40B4-BE49-F238E27FC236}">
                <a16:creationId xmlns:a16="http://schemas.microsoft.com/office/drawing/2014/main" id="{D6FF5BEC-E008-6072-E1FA-BFB437E79964}"/>
              </a:ext>
            </a:extLst>
          </p:cNvPr>
          <p:cNvSpPr/>
          <p:nvPr/>
        </p:nvSpPr>
        <p:spPr>
          <a:xfrm>
            <a:off x="2222740" y="1383185"/>
            <a:ext cx="852406" cy="852406"/>
          </a:xfrm>
          <a:prstGeom prst="ellipse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4" name="타원 111">
            <a:extLst>
              <a:ext uri="{FF2B5EF4-FFF2-40B4-BE49-F238E27FC236}">
                <a16:creationId xmlns:a16="http://schemas.microsoft.com/office/drawing/2014/main" id="{6062B689-A43D-A31F-26D4-06AC3E32FF60}"/>
              </a:ext>
            </a:extLst>
          </p:cNvPr>
          <p:cNvSpPr/>
          <p:nvPr/>
        </p:nvSpPr>
        <p:spPr>
          <a:xfrm>
            <a:off x="3720993" y="4468538"/>
            <a:ext cx="1092054" cy="1092054"/>
          </a:xfrm>
          <a:prstGeom prst="ellips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1" name="Picture 30" descr="A close up of a device&#10;&#10;Description automatically generated">
            <a:extLst>
              <a:ext uri="{FF2B5EF4-FFF2-40B4-BE49-F238E27FC236}">
                <a16:creationId xmlns:a16="http://schemas.microsoft.com/office/drawing/2014/main" id="{29689104-FE67-AE40-646C-DD11A10B2E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665" y="4697644"/>
            <a:ext cx="3187919" cy="1353012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sp>
        <p:nvSpPr>
          <p:cNvPr id="105" name="타원 112">
            <a:extLst>
              <a:ext uri="{FF2B5EF4-FFF2-40B4-BE49-F238E27FC236}">
                <a16:creationId xmlns:a16="http://schemas.microsoft.com/office/drawing/2014/main" id="{3AFC20D8-80BE-ADDA-49E5-6A29A6784D2F}"/>
              </a:ext>
            </a:extLst>
          </p:cNvPr>
          <p:cNvSpPr/>
          <p:nvPr/>
        </p:nvSpPr>
        <p:spPr>
          <a:xfrm>
            <a:off x="3115655" y="3160082"/>
            <a:ext cx="1353011" cy="1353011"/>
          </a:xfrm>
          <a:prstGeom prst="ellipse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2" name="Picture 1">
            <a:extLst>
              <a:ext uri="{FF2B5EF4-FFF2-40B4-BE49-F238E27FC236}">
                <a16:creationId xmlns:a16="http://schemas.microsoft.com/office/drawing/2014/main" id="{D052B3C2-248B-5490-71F8-20566101A7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0150" y="2749464"/>
            <a:ext cx="4956868" cy="1589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9491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843" name="Group 2">
            <a:extLst>
              <a:ext uri="{FF2B5EF4-FFF2-40B4-BE49-F238E27FC236}">
                <a16:creationId xmlns:a16="http://schemas.microsoft.com/office/drawing/2014/main" id="{CF051CC9-3079-3111-2558-C2BD61DDF893}"/>
              </a:ext>
            </a:extLst>
          </p:cNvPr>
          <p:cNvGrpSpPr>
            <a:grpSpLocks/>
          </p:cNvGrpSpPr>
          <p:nvPr/>
        </p:nvGrpSpPr>
        <p:grpSpPr bwMode="auto">
          <a:xfrm>
            <a:off x="4605789" y="1835148"/>
            <a:ext cx="3294063" cy="3001962"/>
            <a:chOff x="3317826" y="2558971"/>
            <a:chExt cx="3051406" cy="2772898"/>
          </a:xfrm>
        </p:grpSpPr>
        <p:grpSp>
          <p:nvGrpSpPr>
            <p:cNvPr id="35861" name="Group 4">
              <a:extLst>
                <a:ext uri="{FF2B5EF4-FFF2-40B4-BE49-F238E27FC236}">
                  <a16:creationId xmlns:a16="http://schemas.microsoft.com/office/drawing/2014/main" id="{C32F73A5-CC7D-B314-D895-9DE11D8AC974}"/>
                </a:ext>
              </a:extLst>
            </p:cNvPr>
            <p:cNvGrpSpPr>
              <a:grpSpLocks/>
            </p:cNvGrpSpPr>
            <p:nvPr/>
          </p:nvGrpSpPr>
          <p:grpSpPr bwMode="auto">
            <a:xfrm rot="4113254">
              <a:off x="4982409" y="2477680"/>
              <a:ext cx="1141718" cy="1631929"/>
              <a:chOff x="3688927" y="1580041"/>
              <a:chExt cx="1957239" cy="2797603"/>
            </a:xfrm>
          </p:grpSpPr>
          <p:sp>
            <p:nvSpPr>
              <p:cNvPr id="15" name="Freeform 28">
                <a:extLst>
                  <a:ext uri="{FF2B5EF4-FFF2-40B4-BE49-F238E27FC236}">
                    <a16:creationId xmlns:a16="http://schemas.microsoft.com/office/drawing/2014/main" id="{8FAFB706-AAE0-D9B2-3526-254FA3357BA3}"/>
                  </a:ext>
                </a:extLst>
              </p:cNvPr>
              <p:cNvSpPr/>
              <p:nvPr/>
            </p:nvSpPr>
            <p:spPr>
              <a:xfrm>
                <a:off x="3681813" y="1582779"/>
                <a:ext cx="1588710" cy="1038637"/>
              </a:xfrm>
              <a:custGeom>
                <a:avLst/>
                <a:gdLst>
                  <a:gd name="connsiteX0" fmla="*/ 714375 w 1924050"/>
                  <a:gd name="connsiteY0" fmla="*/ 9525 h 1104900"/>
                  <a:gd name="connsiteX1" fmla="*/ 0 w 1924050"/>
                  <a:gd name="connsiteY1" fmla="*/ 0 h 1104900"/>
                  <a:gd name="connsiteX2" fmla="*/ 1590675 w 1924050"/>
                  <a:gd name="connsiteY2" fmla="*/ 1104900 h 1104900"/>
                  <a:gd name="connsiteX3" fmla="*/ 1924050 w 1924050"/>
                  <a:gd name="connsiteY3" fmla="*/ 942975 h 1104900"/>
                  <a:gd name="connsiteX4" fmla="*/ 714375 w 1924050"/>
                  <a:gd name="connsiteY4" fmla="*/ 9525 h 1104900"/>
                  <a:gd name="connsiteX0" fmla="*/ 704850 w 1914525"/>
                  <a:gd name="connsiteY0" fmla="*/ 0 h 1095375"/>
                  <a:gd name="connsiteX1" fmla="*/ 0 w 1914525"/>
                  <a:gd name="connsiteY1" fmla="*/ 38100 h 1095375"/>
                  <a:gd name="connsiteX2" fmla="*/ 1581150 w 1914525"/>
                  <a:gd name="connsiteY2" fmla="*/ 1095375 h 1095375"/>
                  <a:gd name="connsiteX3" fmla="*/ 1914525 w 1914525"/>
                  <a:gd name="connsiteY3" fmla="*/ 933450 h 1095375"/>
                  <a:gd name="connsiteX4" fmla="*/ 704850 w 1914525"/>
                  <a:gd name="connsiteY4" fmla="*/ 0 h 1095375"/>
                  <a:gd name="connsiteX0" fmla="*/ 704850 w 1914525"/>
                  <a:gd name="connsiteY0" fmla="*/ 2444 h 1097819"/>
                  <a:gd name="connsiteX1" fmla="*/ 0 w 1914525"/>
                  <a:gd name="connsiteY1" fmla="*/ 40544 h 1097819"/>
                  <a:gd name="connsiteX2" fmla="*/ 1581150 w 1914525"/>
                  <a:gd name="connsiteY2" fmla="*/ 1097819 h 1097819"/>
                  <a:gd name="connsiteX3" fmla="*/ 1914525 w 1914525"/>
                  <a:gd name="connsiteY3" fmla="*/ 935894 h 1097819"/>
                  <a:gd name="connsiteX4" fmla="*/ 704850 w 1914525"/>
                  <a:gd name="connsiteY4" fmla="*/ 2444 h 1097819"/>
                  <a:gd name="connsiteX0" fmla="*/ 704850 w 1914525"/>
                  <a:gd name="connsiteY0" fmla="*/ 21793 h 1117168"/>
                  <a:gd name="connsiteX1" fmla="*/ 0 w 1914525"/>
                  <a:gd name="connsiteY1" fmla="*/ 59893 h 1117168"/>
                  <a:gd name="connsiteX2" fmla="*/ 1581150 w 1914525"/>
                  <a:gd name="connsiteY2" fmla="*/ 1117168 h 1117168"/>
                  <a:gd name="connsiteX3" fmla="*/ 1914525 w 1914525"/>
                  <a:gd name="connsiteY3" fmla="*/ 955243 h 1117168"/>
                  <a:gd name="connsiteX4" fmla="*/ 704850 w 1914525"/>
                  <a:gd name="connsiteY4" fmla="*/ 21793 h 1117168"/>
                  <a:gd name="connsiteX0" fmla="*/ 704850 w 1914525"/>
                  <a:gd name="connsiteY0" fmla="*/ 21793 h 1079068"/>
                  <a:gd name="connsiteX1" fmla="*/ 0 w 1914525"/>
                  <a:gd name="connsiteY1" fmla="*/ 59893 h 1079068"/>
                  <a:gd name="connsiteX2" fmla="*/ 1676400 w 1914525"/>
                  <a:gd name="connsiteY2" fmla="*/ 1079068 h 1079068"/>
                  <a:gd name="connsiteX3" fmla="*/ 1914525 w 1914525"/>
                  <a:gd name="connsiteY3" fmla="*/ 955243 h 1079068"/>
                  <a:gd name="connsiteX4" fmla="*/ 704850 w 1914525"/>
                  <a:gd name="connsiteY4" fmla="*/ 21793 h 1079068"/>
                  <a:gd name="connsiteX0" fmla="*/ 485775 w 1695450"/>
                  <a:gd name="connsiteY0" fmla="*/ 21793 h 1079068"/>
                  <a:gd name="connsiteX1" fmla="*/ 0 w 1695450"/>
                  <a:gd name="connsiteY1" fmla="*/ 59893 h 1079068"/>
                  <a:gd name="connsiteX2" fmla="*/ 1457325 w 1695450"/>
                  <a:gd name="connsiteY2" fmla="*/ 1079068 h 1079068"/>
                  <a:gd name="connsiteX3" fmla="*/ 1695450 w 1695450"/>
                  <a:gd name="connsiteY3" fmla="*/ 955243 h 1079068"/>
                  <a:gd name="connsiteX4" fmla="*/ 485775 w 1695450"/>
                  <a:gd name="connsiteY4" fmla="*/ 21793 h 1079068"/>
                  <a:gd name="connsiteX0" fmla="*/ 485775 w 1695450"/>
                  <a:gd name="connsiteY0" fmla="*/ 21793 h 1021918"/>
                  <a:gd name="connsiteX1" fmla="*/ 0 w 1695450"/>
                  <a:gd name="connsiteY1" fmla="*/ 59893 h 1021918"/>
                  <a:gd name="connsiteX2" fmla="*/ 1362075 w 1695450"/>
                  <a:gd name="connsiteY2" fmla="*/ 1021918 h 1021918"/>
                  <a:gd name="connsiteX3" fmla="*/ 1695450 w 1695450"/>
                  <a:gd name="connsiteY3" fmla="*/ 955243 h 1021918"/>
                  <a:gd name="connsiteX4" fmla="*/ 485775 w 1695450"/>
                  <a:gd name="connsiteY4" fmla="*/ 21793 h 1021918"/>
                  <a:gd name="connsiteX0" fmla="*/ 485775 w 1695450"/>
                  <a:gd name="connsiteY0" fmla="*/ 16934 h 1017059"/>
                  <a:gd name="connsiteX1" fmla="*/ 0 w 1695450"/>
                  <a:gd name="connsiteY1" fmla="*/ 55034 h 1017059"/>
                  <a:gd name="connsiteX2" fmla="*/ 1362075 w 1695450"/>
                  <a:gd name="connsiteY2" fmla="*/ 1017059 h 1017059"/>
                  <a:gd name="connsiteX3" fmla="*/ 1695450 w 1695450"/>
                  <a:gd name="connsiteY3" fmla="*/ 950384 h 1017059"/>
                  <a:gd name="connsiteX4" fmla="*/ 485775 w 1695450"/>
                  <a:gd name="connsiteY4" fmla="*/ 16934 h 1017059"/>
                  <a:gd name="connsiteX0" fmla="*/ 485775 w 1695450"/>
                  <a:gd name="connsiteY0" fmla="*/ 16934 h 1017059"/>
                  <a:gd name="connsiteX1" fmla="*/ 0 w 1695450"/>
                  <a:gd name="connsiteY1" fmla="*/ 55034 h 1017059"/>
                  <a:gd name="connsiteX2" fmla="*/ 1362075 w 1695450"/>
                  <a:gd name="connsiteY2" fmla="*/ 1017059 h 1017059"/>
                  <a:gd name="connsiteX3" fmla="*/ 1695450 w 1695450"/>
                  <a:gd name="connsiteY3" fmla="*/ 950384 h 1017059"/>
                  <a:gd name="connsiteX4" fmla="*/ 485775 w 1695450"/>
                  <a:gd name="connsiteY4" fmla="*/ 16934 h 1017059"/>
                  <a:gd name="connsiteX0" fmla="*/ 419100 w 1628775"/>
                  <a:gd name="connsiteY0" fmla="*/ 16934 h 1017059"/>
                  <a:gd name="connsiteX1" fmla="*/ 0 w 1628775"/>
                  <a:gd name="connsiteY1" fmla="*/ 55034 h 1017059"/>
                  <a:gd name="connsiteX2" fmla="*/ 1295400 w 1628775"/>
                  <a:gd name="connsiteY2" fmla="*/ 1017059 h 1017059"/>
                  <a:gd name="connsiteX3" fmla="*/ 1628775 w 1628775"/>
                  <a:gd name="connsiteY3" fmla="*/ 950384 h 1017059"/>
                  <a:gd name="connsiteX4" fmla="*/ 419100 w 1628775"/>
                  <a:gd name="connsiteY4" fmla="*/ 16934 h 1017059"/>
                  <a:gd name="connsiteX0" fmla="*/ 419100 w 1628775"/>
                  <a:gd name="connsiteY0" fmla="*/ 21793 h 1021918"/>
                  <a:gd name="connsiteX1" fmla="*/ 0 w 1628775"/>
                  <a:gd name="connsiteY1" fmla="*/ 59893 h 1021918"/>
                  <a:gd name="connsiteX2" fmla="*/ 1295400 w 1628775"/>
                  <a:gd name="connsiteY2" fmla="*/ 1021918 h 1021918"/>
                  <a:gd name="connsiteX3" fmla="*/ 1628775 w 1628775"/>
                  <a:gd name="connsiteY3" fmla="*/ 955243 h 1021918"/>
                  <a:gd name="connsiteX4" fmla="*/ 419100 w 1628775"/>
                  <a:gd name="connsiteY4" fmla="*/ 21793 h 1021918"/>
                  <a:gd name="connsiteX0" fmla="*/ 419100 w 1628775"/>
                  <a:gd name="connsiteY0" fmla="*/ 38457 h 1038582"/>
                  <a:gd name="connsiteX1" fmla="*/ 0 w 1628775"/>
                  <a:gd name="connsiteY1" fmla="*/ 76557 h 1038582"/>
                  <a:gd name="connsiteX2" fmla="*/ 1295400 w 1628775"/>
                  <a:gd name="connsiteY2" fmla="*/ 1038582 h 1038582"/>
                  <a:gd name="connsiteX3" fmla="*/ 1628775 w 1628775"/>
                  <a:gd name="connsiteY3" fmla="*/ 971907 h 1038582"/>
                  <a:gd name="connsiteX4" fmla="*/ 419100 w 1628775"/>
                  <a:gd name="connsiteY4" fmla="*/ 38457 h 1038582"/>
                  <a:gd name="connsiteX0" fmla="*/ 419100 w 1628775"/>
                  <a:gd name="connsiteY0" fmla="*/ 42655 h 1042780"/>
                  <a:gd name="connsiteX1" fmla="*/ 0 w 1628775"/>
                  <a:gd name="connsiteY1" fmla="*/ 80755 h 1042780"/>
                  <a:gd name="connsiteX2" fmla="*/ 1295400 w 1628775"/>
                  <a:gd name="connsiteY2" fmla="*/ 1042780 h 1042780"/>
                  <a:gd name="connsiteX3" fmla="*/ 1628775 w 1628775"/>
                  <a:gd name="connsiteY3" fmla="*/ 976105 h 1042780"/>
                  <a:gd name="connsiteX4" fmla="*/ 419100 w 1628775"/>
                  <a:gd name="connsiteY4" fmla="*/ 42655 h 1042780"/>
                  <a:gd name="connsiteX0" fmla="*/ 419100 w 1628775"/>
                  <a:gd name="connsiteY0" fmla="*/ 42655 h 1042780"/>
                  <a:gd name="connsiteX1" fmla="*/ 0 w 1628775"/>
                  <a:gd name="connsiteY1" fmla="*/ 80755 h 1042780"/>
                  <a:gd name="connsiteX2" fmla="*/ 1295400 w 1628775"/>
                  <a:gd name="connsiteY2" fmla="*/ 1042780 h 1042780"/>
                  <a:gd name="connsiteX3" fmla="*/ 1628775 w 1628775"/>
                  <a:gd name="connsiteY3" fmla="*/ 976105 h 1042780"/>
                  <a:gd name="connsiteX4" fmla="*/ 419100 w 1628775"/>
                  <a:gd name="connsiteY4" fmla="*/ 42655 h 1042780"/>
                  <a:gd name="connsiteX0" fmla="*/ 419100 w 1628775"/>
                  <a:gd name="connsiteY0" fmla="*/ 45241 h 1045366"/>
                  <a:gd name="connsiteX1" fmla="*/ 0 w 1628775"/>
                  <a:gd name="connsiteY1" fmla="*/ 83341 h 1045366"/>
                  <a:gd name="connsiteX2" fmla="*/ 1295400 w 1628775"/>
                  <a:gd name="connsiteY2" fmla="*/ 1045366 h 1045366"/>
                  <a:gd name="connsiteX3" fmla="*/ 1628775 w 1628775"/>
                  <a:gd name="connsiteY3" fmla="*/ 978691 h 1045366"/>
                  <a:gd name="connsiteX4" fmla="*/ 419100 w 1628775"/>
                  <a:gd name="connsiteY4" fmla="*/ 45241 h 1045366"/>
                  <a:gd name="connsiteX0" fmla="*/ 383930 w 1593605"/>
                  <a:gd name="connsiteY0" fmla="*/ 45241 h 1045366"/>
                  <a:gd name="connsiteX1" fmla="*/ 0 w 1593605"/>
                  <a:gd name="connsiteY1" fmla="*/ 83341 h 1045366"/>
                  <a:gd name="connsiteX2" fmla="*/ 1260230 w 1593605"/>
                  <a:gd name="connsiteY2" fmla="*/ 1045366 h 1045366"/>
                  <a:gd name="connsiteX3" fmla="*/ 1593605 w 1593605"/>
                  <a:gd name="connsiteY3" fmla="*/ 978691 h 1045366"/>
                  <a:gd name="connsiteX4" fmla="*/ 383930 w 1593605"/>
                  <a:gd name="connsiteY4" fmla="*/ 45241 h 1045366"/>
                  <a:gd name="connsiteX0" fmla="*/ 383930 w 1593605"/>
                  <a:gd name="connsiteY0" fmla="*/ 38512 h 1038637"/>
                  <a:gd name="connsiteX1" fmla="*/ 0 w 1593605"/>
                  <a:gd name="connsiteY1" fmla="*/ 76612 h 1038637"/>
                  <a:gd name="connsiteX2" fmla="*/ 1260230 w 1593605"/>
                  <a:gd name="connsiteY2" fmla="*/ 1038637 h 1038637"/>
                  <a:gd name="connsiteX3" fmla="*/ 1593605 w 1593605"/>
                  <a:gd name="connsiteY3" fmla="*/ 971962 h 1038637"/>
                  <a:gd name="connsiteX4" fmla="*/ 383930 w 1593605"/>
                  <a:gd name="connsiteY4" fmla="*/ 38512 h 1038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3605" h="1038637">
                    <a:moveTo>
                      <a:pt x="383930" y="38512"/>
                    </a:moveTo>
                    <a:cubicBezTo>
                      <a:pt x="269874" y="-49899"/>
                      <a:pt x="81816" y="36070"/>
                      <a:pt x="0" y="76612"/>
                    </a:cubicBezTo>
                    <a:lnTo>
                      <a:pt x="1260230" y="1038637"/>
                    </a:lnTo>
                    <a:lnTo>
                      <a:pt x="1593605" y="971962"/>
                    </a:lnTo>
                    <a:lnTo>
                      <a:pt x="383930" y="38512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1200"/>
              </a:p>
            </p:txBody>
          </p:sp>
          <p:sp>
            <p:nvSpPr>
              <p:cNvPr id="16" name="Down Arrow 1">
                <a:extLst>
                  <a:ext uri="{FF2B5EF4-FFF2-40B4-BE49-F238E27FC236}">
                    <a16:creationId xmlns:a16="http://schemas.microsoft.com/office/drawing/2014/main" id="{65280A1D-0462-FB7F-1EA6-DA2A79F2AD76}"/>
                  </a:ext>
                </a:extLst>
              </p:cNvPr>
              <p:cNvSpPr/>
              <p:nvPr/>
            </p:nvSpPr>
            <p:spPr>
              <a:xfrm>
                <a:off x="3821497" y="1638107"/>
                <a:ext cx="1784785" cy="2775580"/>
              </a:xfrm>
              <a:custGeom>
                <a:avLst/>
                <a:gdLst>
                  <a:gd name="connsiteX0" fmla="*/ 221456 w 1800200"/>
                  <a:gd name="connsiteY0" fmla="*/ 0 h 2766815"/>
                  <a:gd name="connsiteX1" fmla="*/ 1512069 w 1800200"/>
                  <a:gd name="connsiteY1" fmla="*/ 9680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512069 w 1800200"/>
                  <a:gd name="connsiteY1" fmla="*/ 9680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0200" h="2766815">
                    <a:moveTo>
                      <a:pt x="221456" y="0"/>
                    </a:moveTo>
                    <a:lnTo>
                      <a:pt x="1464444" y="929953"/>
                    </a:lnTo>
                    <a:cubicBezTo>
                      <a:pt x="1514023" y="992361"/>
                      <a:pt x="1496194" y="1535415"/>
                      <a:pt x="1512069" y="1838146"/>
                    </a:cubicBezTo>
                    <a:lnTo>
                      <a:pt x="1800200" y="1838146"/>
                    </a:lnTo>
                    <a:lnTo>
                      <a:pt x="900100" y="2766815"/>
                    </a:lnTo>
                    <a:lnTo>
                      <a:pt x="0" y="1838146"/>
                    </a:lnTo>
                    <a:lnTo>
                      <a:pt x="288131" y="1838146"/>
                    </a:lnTo>
                    <a:cubicBezTo>
                      <a:pt x="288131" y="1238131"/>
                      <a:pt x="297656" y="104715"/>
                      <a:pt x="221456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1200"/>
              </a:p>
            </p:txBody>
          </p:sp>
          <p:sp>
            <p:nvSpPr>
              <p:cNvPr id="39" name="Down Arrow 1">
                <a:extLst>
                  <a:ext uri="{FF2B5EF4-FFF2-40B4-BE49-F238E27FC236}">
                    <a16:creationId xmlns:a16="http://schemas.microsoft.com/office/drawing/2014/main" id="{E1F44366-3D6F-1703-6B6D-BB2B66554702}"/>
                  </a:ext>
                </a:extLst>
              </p:cNvPr>
              <p:cNvSpPr/>
              <p:nvPr/>
            </p:nvSpPr>
            <p:spPr>
              <a:xfrm>
                <a:off x="3821497" y="1638107"/>
                <a:ext cx="1784785" cy="2775580"/>
              </a:xfrm>
              <a:custGeom>
                <a:avLst/>
                <a:gdLst>
                  <a:gd name="connsiteX0" fmla="*/ 221456 w 1800200"/>
                  <a:gd name="connsiteY0" fmla="*/ 0 h 2766815"/>
                  <a:gd name="connsiteX1" fmla="*/ 1512069 w 1800200"/>
                  <a:gd name="connsiteY1" fmla="*/ 9680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512069 w 1800200"/>
                  <a:gd name="connsiteY1" fmla="*/ 9680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0200" h="2766815">
                    <a:moveTo>
                      <a:pt x="221456" y="0"/>
                    </a:moveTo>
                    <a:lnTo>
                      <a:pt x="1464444" y="929953"/>
                    </a:lnTo>
                    <a:cubicBezTo>
                      <a:pt x="1514023" y="992361"/>
                      <a:pt x="1496194" y="1535415"/>
                      <a:pt x="1512069" y="1838146"/>
                    </a:cubicBezTo>
                    <a:lnTo>
                      <a:pt x="1800200" y="1838146"/>
                    </a:lnTo>
                    <a:lnTo>
                      <a:pt x="900100" y="2766815"/>
                    </a:lnTo>
                    <a:lnTo>
                      <a:pt x="0" y="1838146"/>
                    </a:lnTo>
                    <a:lnTo>
                      <a:pt x="288131" y="1838146"/>
                    </a:lnTo>
                    <a:cubicBezTo>
                      <a:pt x="288131" y="1238131"/>
                      <a:pt x="297656" y="104715"/>
                      <a:pt x="221456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1200"/>
              </a:p>
            </p:txBody>
          </p:sp>
        </p:grpSp>
        <p:grpSp>
          <p:nvGrpSpPr>
            <p:cNvPr id="35862" name="Group 5">
              <a:extLst>
                <a:ext uri="{FF2B5EF4-FFF2-40B4-BE49-F238E27FC236}">
                  <a16:creationId xmlns:a16="http://schemas.microsoft.com/office/drawing/2014/main" id="{B5A333FC-8986-925E-6177-7456A952F34A}"/>
                </a:ext>
              </a:extLst>
            </p:cNvPr>
            <p:cNvGrpSpPr>
              <a:grpSpLocks/>
            </p:cNvGrpSpPr>
            <p:nvPr/>
          </p:nvGrpSpPr>
          <p:grpSpPr bwMode="auto">
            <a:xfrm rot="8531373">
              <a:off x="4670582" y="3689584"/>
              <a:ext cx="1139838" cy="1632238"/>
              <a:chOff x="3692771" y="1580738"/>
              <a:chExt cx="1954016" cy="2798134"/>
            </a:xfrm>
          </p:grpSpPr>
          <p:sp>
            <p:nvSpPr>
              <p:cNvPr id="13" name="Freeform 32">
                <a:extLst>
                  <a:ext uri="{FF2B5EF4-FFF2-40B4-BE49-F238E27FC236}">
                    <a16:creationId xmlns:a16="http://schemas.microsoft.com/office/drawing/2014/main" id="{AA4017D4-B802-B083-CE80-55F50783D60C}"/>
                  </a:ext>
                </a:extLst>
              </p:cNvPr>
              <p:cNvSpPr/>
              <p:nvPr/>
            </p:nvSpPr>
            <p:spPr>
              <a:xfrm>
                <a:off x="3692833" y="1589982"/>
                <a:ext cx="1593250" cy="1040705"/>
              </a:xfrm>
              <a:custGeom>
                <a:avLst/>
                <a:gdLst>
                  <a:gd name="connsiteX0" fmla="*/ 714375 w 1924050"/>
                  <a:gd name="connsiteY0" fmla="*/ 9525 h 1104900"/>
                  <a:gd name="connsiteX1" fmla="*/ 0 w 1924050"/>
                  <a:gd name="connsiteY1" fmla="*/ 0 h 1104900"/>
                  <a:gd name="connsiteX2" fmla="*/ 1590675 w 1924050"/>
                  <a:gd name="connsiteY2" fmla="*/ 1104900 h 1104900"/>
                  <a:gd name="connsiteX3" fmla="*/ 1924050 w 1924050"/>
                  <a:gd name="connsiteY3" fmla="*/ 942975 h 1104900"/>
                  <a:gd name="connsiteX4" fmla="*/ 714375 w 1924050"/>
                  <a:gd name="connsiteY4" fmla="*/ 9525 h 1104900"/>
                  <a:gd name="connsiteX0" fmla="*/ 704850 w 1914525"/>
                  <a:gd name="connsiteY0" fmla="*/ 0 h 1095375"/>
                  <a:gd name="connsiteX1" fmla="*/ 0 w 1914525"/>
                  <a:gd name="connsiteY1" fmla="*/ 38100 h 1095375"/>
                  <a:gd name="connsiteX2" fmla="*/ 1581150 w 1914525"/>
                  <a:gd name="connsiteY2" fmla="*/ 1095375 h 1095375"/>
                  <a:gd name="connsiteX3" fmla="*/ 1914525 w 1914525"/>
                  <a:gd name="connsiteY3" fmla="*/ 933450 h 1095375"/>
                  <a:gd name="connsiteX4" fmla="*/ 704850 w 1914525"/>
                  <a:gd name="connsiteY4" fmla="*/ 0 h 1095375"/>
                  <a:gd name="connsiteX0" fmla="*/ 704850 w 1914525"/>
                  <a:gd name="connsiteY0" fmla="*/ 2444 h 1097819"/>
                  <a:gd name="connsiteX1" fmla="*/ 0 w 1914525"/>
                  <a:gd name="connsiteY1" fmla="*/ 40544 h 1097819"/>
                  <a:gd name="connsiteX2" fmla="*/ 1581150 w 1914525"/>
                  <a:gd name="connsiteY2" fmla="*/ 1097819 h 1097819"/>
                  <a:gd name="connsiteX3" fmla="*/ 1914525 w 1914525"/>
                  <a:gd name="connsiteY3" fmla="*/ 935894 h 1097819"/>
                  <a:gd name="connsiteX4" fmla="*/ 704850 w 1914525"/>
                  <a:gd name="connsiteY4" fmla="*/ 2444 h 1097819"/>
                  <a:gd name="connsiteX0" fmla="*/ 704850 w 1914525"/>
                  <a:gd name="connsiteY0" fmla="*/ 21793 h 1117168"/>
                  <a:gd name="connsiteX1" fmla="*/ 0 w 1914525"/>
                  <a:gd name="connsiteY1" fmla="*/ 59893 h 1117168"/>
                  <a:gd name="connsiteX2" fmla="*/ 1581150 w 1914525"/>
                  <a:gd name="connsiteY2" fmla="*/ 1117168 h 1117168"/>
                  <a:gd name="connsiteX3" fmla="*/ 1914525 w 1914525"/>
                  <a:gd name="connsiteY3" fmla="*/ 955243 h 1117168"/>
                  <a:gd name="connsiteX4" fmla="*/ 704850 w 1914525"/>
                  <a:gd name="connsiteY4" fmla="*/ 21793 h 1117168"/>
                  <a:gd name="connsiteX0" fmla="*/ 704850 w 1914525"/>
                  <a:gd name="connsiteY0" fmla="*/ 21793 h 1079068"/>
                  <a:gd name="connsiteX1" fmla="*/ 0 w 1914525"/>
                  <a:gd name="connsiteY1" fmla="*/ 59893 h 1079068"/>
                  <a:gd name="connsiteX2" fmla="*/ 1676400 w 1914525"/>
                  <a:gd name="connsiteY2" fmla="*/ 1079068 h 1079068"/>
                  <a:gd name="connsiteX3" fmla="*/ 1914525 w 1914525"/>
                  <a:gd name="connsiteY3" fmla="*/ 955243 h 1079068"/>
                  <a:gd name="connsiteX4" fmla="*/ 704850 w 1914525"/>
                  <a:gd name="connsiteY4" fmla="*/ 21793 h 1079068"/>
                  <a:gd name="connsiteX0" fmla="*/ 485775 w 1695450"/>
                  <a:gd name="connsiteY0" fmla="*/ 21793 h 1079068"/>
                  <a:gd name="connsiteX1" fmla="*/ 0 w 1695450"/>
                  <a:gd name="connsiteY1" fmla="*/ 59893 h 1079068"/>
                  <a:gd name="connsiteX2" fmla="*/ 1457325 w 1695450"/>
                  <a:gd name="connsiteY2" fmla="*/ 1079068 h 1079068"/>
                  <a:gd name="connsiteX3" fmla="*/ 1695450 w 1695450"/>
                  <a:gd name="connsiteY3" fmla="*/ 955243 h 1079068"/>
                  <a:gd name="connsiteX4" fmla="*/ 485775 w 1695450"/>
                  <a:gd name="connsiteY4" fmla="*/ 21793 h 1079068"/>
                  <a:gd name="connsiteX0" fmla="*/ 485775 w 1695450"/>
                  <a:gd name="connsiteY0" fmla="*/ 21793 h 1021918"/>
                  <a:gd name="connsiteX1" fmla="*/ 0 w 1695450"/>
                  <a:gd name="connsiteY1" fmla="*/ 59893 h 1021918"/>
                  <a:gd name="connsiteX2" fmla="*/ 1362075 w 1695450"/>
                  <a:gd name="connsiteY2" fmla="*/ 1021918 h 1021918"/>
                  <a:gd name="connsiteX3" fmla="*/ 1695450 w 1695450"/>
                  <a:gd name="connsiteY3" fmla="*/ 955243 h 1021918"/>
                  <a:gd name="connsiteX4" fmla="*/ 485775 w 1695450"/>
                  <a:gd name="connsiteY4" fmla="*/ 21793 h 1021918"/>
                  <a:gd name="connsiteX0" fmla="*/ 485775 w 1695450"/>
                  <a:gd name="connsiteY0" fmla="*/ 16934 h 1017059"/>
                  <a:gd name="connsiteX1" fmla="*/ 0 w 1695450"/>
                  <a:gd name="connsiteY1" fmla="*/ 55034 h 1017059"/>
                  <a:gd name="connsiteX2" fmla="*/ 1362075 w 1695450"/>
                  <a:gd name="connsiteY2" fmla="*/ 1017059 h 1017059"/>
                  <a:gd name="connsiteX3" fmla="*/ 1695450 w 1695450"/>
                  <a:gd name="connsiteY3" fmla="*/ 950384 h 1017059"/>
                  <a:gd name="connsiteX4" fmla="*/ 485775 w 1695450"/>
                  <a:gd name="connsiteY4" fmla="*/ 16934 h 1017059"/>
                  <a:gd name="connsiteX0" fmla="*/ 485775 w 1695450"/>
                  <a:gd name="connsiteY0" fmla="*/ 16934 h 1017059"/>
                  <a:gd name="connsiteX1" fmla="*/ 0 w 1695450"/>
                  <a:gd name="connsiteY1" fmla="*/ 55034 h 1017059"/>
                  <a:gd name="connsiteX2" fmla="*/ 1362075 w 1695450"/>
                  <a:gd name="connsiteY2" fmla="*/ 1017059 h 1017059"/>
                  <a:gd name="connsiteX3" fmla="*/ 1695450 w 1695450"/>
                  <a:gd name="connsiteY3" fmla="*/ 950384 h 1017059"/>
                  <a:gd name="connsiteX4" fmla="*/ 485775 w 1695450"/>
                  <a:gd name="connsiteY4" fmla="*/ 16934 h 1017059"/>
                  <a:gd name="connsiteX0" fmla="*/ 419100 w 1628775"/>
                  <a:gd name="connsiteY0" fmla="*/ 16934 h 1017059"/>
                  <a:gd name="connsiteX1" fmla="*/ 0 w 1628775"/>
                  <a:gd name="connsiteY1" fmla="*/ 55034 h 1017059"/>
                  <a:gd name="connsiteX2" fmla="*/ 1295400 w 1628775"/>
                  <a:gd name="connsiteY2" fmla="*/ 1017059 h 1017059"/>
                  <a:gd name="connsiteX3" fmla="*/ 1628775 w 1628775"/>
                  <a:gd name="connsiteY3" fmla="*/ 950384 h 1017059"/>
                  <a:gd name="connsiteX4" fmla="*/ 419100 w 1628775"/>
                  <a:gd name="connsiteY4" fmla="*/ 16934 h 1017059"/>
                  <a:gd name="connsiteX0" fmla="*/ 419100 w 1628775"/>
                  <a:gd name="connsiteY0" fmla="*/ 21793 h 1021918"/>
                  <a:gd name="connsiteX1" fmla="*/ 0 w 1628775"/>
                  <a:gd name="connsiteY1" fmla="*/ 59893 h 1021918"/>
                  <a:gd name="connsiteX2" fmla="*/ 1295400 w 1628775"/>
                  <a:gd name="connsiteY2" fmla="*/ 1021918 h 1021918"/>
                  <a:gd name="connsiteX3" fmla="*/ 1628775 w 1628775"/>
                  <a:gd name="connsiteY3" fmla="*/ 955243 h 1021918"/>
                  <a:gd name="connsiteX4" fmla="*/ 419100 w 1628775"/>
                  <a:gd name="connsiteY4" fmla="*/ 21793 h 1021918"/>
                  <a:gd name="connsiteX0" fmla="*/ 419100 w 1628775"/>
                  <a:gd name="connsiteY0" fmla="*/ 38457 h 1038582"/>
                  <a:gd name="connsiteX1" fmla="*/ 0 w 1628775"/>
                  <a:gd name="connsiteY1" fmla="*/ 76557 h 1038582"/>
                  <a:gd name="connsiteX2" fmla="*/ 1295400 w 1628775"/>
                  <a:gd name="connsiteY2" fmla="*/ 1038582 h 1038582"/>
                  <a:gd name="connsiteX3" fmla="*/ 1628775 w 1628775"/>
                  <a:gd name="connsiteY3" fmla="*/ 971907 h 1038582"/>
                  <a:gd name="connsiteX4" fmla="*/ 419100 w 1628775"/>
                  <a:gd name="connsiteY4" fmla="*/ 38457 h 1038582"/>
                  <a:gd name="connsiteX0" fmla="*/ 419100 w 1628775"/>
                  <a:gd name="connsiteY0" fmla="*/ 42655 h 1042780"/>
                  <a:gd name="connsiteX1" fmla="*/ 0 w 1628775"/>
                  <a:gd name="connsiteY1" fmla="*/ 80755 h 1042780"/>
                  <a:gd name="connsiteX2" fmla="*/ 1295400 w 1628775"/>
                  <a:gd name="connsiteY2" fmla="*/ 1042780 h 1042780"/>
                  <a:gd name="connsiteX3" fmla="*/ 1628775 w 1628775"/>
                  <a:gd name="connsiteY3" fmla="*/ 976105 h 1042780"/>
                  <a:gd name="connsiteX4" fmla="*/ 419100 w 1628775"/>
                  <a:gd name="connsiteY4" fmla="*/ 42655 h 1042780"/>
                  <a:gd name="connsiteX0" fmla="*/ 419100 w 1628775"/>
                  <a:gd name="connsiteY0" fmla="*/ 42655 h 1042780"/>
                  <a:gd name="connsiteX1" fmla="*/ 0 w 1628775"/>
                  <a:gd name="connsiteY1" fmla="*/ 80755 h 1042780"/>
                  <a:gd name="connsiteX2" fmla="*/ 1295400 w 1628775"/>
                  <a:gd name="connsiteY2" fmla="*/ 1042780 h 1042780"/>
                  <a:gd name="connsiteX3" fmla="*/ 1628775 w 1628775"/>
                  <a:gd name="connsiteY3" fmla="*/ 976105 h 1042780"/>
                  <a:gd name="connsiteX4" fmla="*/ 419100 w 1628775"/>
                  <a:gd name="connsiteY4" fmla="*/ 42655 h 1042780"/>
                  <a:gd name="connsiteX0" fmla="*/ 419100 w 1628775"/>
                  <a:gd name="connsiteY0" fmla="*/ 45241 h 1045366"/>
                  <a:gd name="connsiteX1" fmla="*/ 0 w 1628775"/>
                  <a:gd name="connsiteY1" fmla="*/ 83341 h 1045366"/>
                  <a:gd name="connsiteX2" fmla="*/ 1295400 w 1628775"/>
                  <a:gd name="connsiteY2" fmla="*/ 1045366 h 1045366"/>
                  <a:gd name="connsiteX3" fmla="*/ 1628775 w 1628775"/>
                  <a:gd name="connsiteY3" fmla="*/ 978691 h 1045366"/>
                  <a:gd name="connsiteX4" fmla="*/ 419100 w 1628775"/>
                  <a:gd name="connsiteY4" fmla="*/ 45241 h 1045366"/>
                  <a:gd name="connsiteX0" fmla="*/ 383930 w 1593605"/>
                  <a:gd name="connsiteY0" fmla="*/ 45241 h 1045366"/>
                  <a:gd name="connsiteX1" fmla="*/ 0 w 1593605"/>
                  <a:gd name="connsiteY1" fmla="*/ 83341 h 1045366"/>
                  <a:gd name="connsiteX2" fmla="*/ 1260230 w 1593605"/>
                  <a:gd name="connsiteY2" fmla="*/ 1045366 h 1045366"/>
                  <a:gd name="connsiteX3" fmla="*/ 1593605 w 1593605"/>
                  <a:gd name="connsiteY3" fmla="*/ 978691 h 1045366"/>
                  <a:gd name="connsiteX4" fmla="*/ 383930 w 1593605"/>
                  <a:gd name="connsiteY4" fmla="*/ 45241 h 1045366"/>
                  <a:gd name="connsiteX0" fmla="*/ 383930 w 1593605"/>
                  <a:gd name="connsiteY0" fmla="*/ 38512 h 1038637"/>
                  <a:gd name="connsiteX1" fmla="*/ 0 w 1593605"/>
                  <a:gd name="connsiteY1" fmla="*/ 76612 h 1038637"/>
                  <a:gd name="connsiteX2" fmla="*/ 1260230 w 1593605"/>
                  <a:gd name="connsiteY2" fmla="*/ 1038637 h 1038637"/>
                  <a:gd name="connsiteX3" fmla="*/ 1593605 w 1593605"/>
                  <a:gd name="connsiteY3" fmla="*/ 971962 h 1038637"/>
                  <a:gd name="connsiteX4" fmla="*/ 383930 w 1593605"/>
                  <a:gd name="connsiteY4" fmla="*/ 38512 h 1038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3605" h="1038637">
                    <a:moveTo>
                      <a:pt x="383930" y="38512"/>
                    </a:moveTo>
                    <a:cubicBezTo>
                      <a:pt x="269874" y="-49899"/>
                      <a:pt x="81816" y="36070"/>
                      <a:pt x="0" y="76612"/>
                    </a:cubicBezTo>
                    <a:lnTo>
                      <a:pt x="1260230" y="1038637"/>
                    </a:lnTo>
                    <a:lnTo>
                      <a:pt x="1593605" y="971962"/>
                    </a:lnTo>
                    <a:lnTo>
                      <a:pt x="383930" y="38512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1200"/>
              </a:p>
            </p:txBody>
          </p:sp>
          <p:sp>
            <p:nvSpPr>
              <p:cNvPr id="14" name="Down Arrow 1">
                <a:extLst>
                  <a:ext uri="{FF2B5EF4-FFF2-40B4-BE49-F238E27FC236}">
                    <a16:creationId xmlns:a16="http://schemas.microsoft.com/office/drawing/2014/main" id="{9D2A7CF2-3B73-9CA3-97EE-2ABD4606905B}"/>
                  </a:ext>
                </a:extLst>
              </p:cNvPr>
              <p:cNvSpPr/>
              <p:nvPr/>
            </p:nvSpPr>
            <p:spPr>
              <a:xfrm>
                <a:off x="3857073" y="1632170"/>
                <a:ext cx="1797448" cy="2752590"/>
              </a:xfrm>
              <a:custGeom>
                <a:avLst/>
                <a:gdLst>
                  <a:gd name="connsiteX0" fmla="*/ 221456 w 1800200"/>
                  <a:gd name="connsiteY0" fmla="*/ 0 h 2766815"/>
                  <a:gd name="connsiteX1" fmla="*/ 1512069 w 1800200"/>
                  <a:gd name="connsiteY1" fmla="*/ 9680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512069 w 1800200"/>
                  <a:gd name="connsiteY1" fmla="*/ 9680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0200" h="2766815">
                    <a:moveTo>
                      <a:pt x="221456" y="0"/>
                    </a:moveTo>
                    <a:lnTo>
                      <a:pt x="1464444" y="929953"/>
                    </a:lnTo>
                    <a:cubicBezTo>
                      <a:pt x="1514023" y="992361"/>
                      <a:pt x="1496194" y="1535415"/>
                      <a:pt x="1512069" y="1838146"/>
                    </a:cubicBezTo>
                    <a:lnTo>
                      <a:pt x="1800200" y="1838146"/>
                    </a:lnTo>
                    <a:lnTo>
                      <a:pt x="900100" y="2766815"/>
                    </a:lnTo>
                    <a:lnTo>
                      <a:pt x="0" y="1838146"/>
                    </a:lnTo>
                    <a:lnTo>
                      <a:pt x="288131" y="1838146"/>
                    </a:lnTo>
                    <a:cubicBezTo>
                      <a:pt x="288131" y="1238131"/>
                      <a:pt x="297656" y="104715"/>
                      <a:pt x="221456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1200"/>
              </a:p>
            </p:txBody>
          </p:sp>
        </p:grpSp>
        <p:grpSp>
          <p:nvGrpSpPr>
            <p:cNvPr id="35863" name="Group 6">
              <a:extLst>
                <a:ext uri="{FF2B5EF4-FFF2-40B4-BE49-F238E27FC236}">
                  <a16:creationId xmlns:a16="http://schemas.microsoft.com/office/drawing/2014/main" id="{B6E46AD1-B9E8-DBB0-0DB3-59C7FAA03249}"/>
                </a:ext>
              </a:extLst>
            </p:cNvPr>
            <p:cNvGrpSpPr>
              <a:grpSpLocks/>
            </p:cNvGrpSpPr>
            <p:nvPr/>
          </p:nvGrpSpPr>
          <p:grpSpPr bwMode="auto">
            <a:xfrm rot="-8471163">
              <a:off x="3370564" y="3674461"/>
              <a:ext cx="1166858" cy="1657408"/>
              <a:chOff x="3693785" y="1579967"/>
              <a:chExt cx="2000337" cy="2841282"/>
            </a:xfrm>
          </p:grpSpPr>
          <p:sp>
            <p:nvSpPr>
              <p:cNvPr id="11" name="Freeform 37">
                <a:extLst>
                  <a:ext uri="{FF2B5EF4-FFF2-40B4-BE49-F238E27FC236}">
                    <a16:creationId xmlns:a16="http://schemas.microsoft.com/office/drawing/2014/main" id="{C04098C6-A56E-CBD5-DB0B-F00270533F14}"/>
                  </a:ext>
                </a:extLst>
              </p:cNvPr>
              <p:cNvSpPr/>
              <p:nvPr/>
            </p:nvSpPr>
            <p:spPr>
              <a:xfrm>
                <a:off x="3717936" y="1620820"/>
                <a:ext cx="1583167" cy="1038191"/>
              </a:xfrm>
              <a:custGeom>
                <a:avLst/>
                <a:gdLst>
                  <a:gd name="connsiteX0" fmla="*/ 714375 w 1924050"/>
                  <a:gd name="connsiteY0" fmla="*/ 9525 h 1104900"/>
                  <a:gd name="connsiteX1" fmla="*/ 0 w 1924050"/>
                  <a:gd name="connsiteY1" fmla="*/ 0 h 1104900"/>
                  <a:gd name="connsiteX2" fmla="*/ 1590675 w 1924050"/>
                  <a:gd name="connsiteY2" fmla="*/ 1104900 h 1104900"/>
                  <a:gd name="connsiteX3" fmla="*/ 1924050 w 1924050"/>
                  <a:gd name="connsiteY3" fmla="*/ 942975 h 1104900"/>
                  <a:gd name="connsiteX4" fmla="*/ 714375 w 1924050"/>
                  <a:gd name="connsiteY4" fmla="*/ 9525 h 1104900"/>
                  <a:gd name="connsiteX0" fmla="*/ 704850 w 1914525"/>
                  <a:gd name="connsiteY0" fmla="*/ 0 h 1095375"/>
                  <a:gd name="connsiteX1" fmla="*/ 0 w 1914525"/>
                  <a:gd name="connsiteY1" fmla="*/ 38100 h 1095375"/>
                  <a:gd name="connsiteX2" fmla="*/ 1581150 w 1914525"/>
                  <a:gd name="connsiteY2" fmla="*/ 1095375 h 1095375"/>
                  <a:gd name="connsiteX3" fmla="*/ 1914525 w 1914525"/>
                  <a:gd name="connsiteY3" fmla="*/ 933450 h 1095375"/>
                  <a:gd name="connsiteX4" fmla="*/ 704850 w 1914525"/>
                  <a:gd name="connsiteY4" fmla="*/ 0 h 1095375"/>
                  <a:gd name="connsiteX0" fmla="*/ 704850 w 1914525"/>
                  <a:gd name="connsiteY0" fmla="*/ 2444 h 1097819"/>
                  <a:gd name="connsiteX1" fmla="*/ 0 w 1914525"/>
                  <a:gd name="connsiteY1" fmla="*/ 40544 h 1097819"/>
                  <a:gd name="connsiteX2" fmla="*/ 1581150 w 1914525"/>
                  <a:gd name="connsiteY2" fmla="*/ 1097819 h 1097819"/>
                  <a:gd name="connsiteX3" fmla="*/ 1914525 w 1914525"/>
                  <a:gd name="connsiteY3" fmla="*/ 935894 h 1097819"/>
                  <a:gd name="connsiteX4" fmla="*/ 704850 w 1914525"/>
                  <a:gd name="connsiteY4" fmla="*/ 2444 h 1097819"/>
                  <a:gd name="connsiteX0" fmla="*/ 704850 w 1914525"/>
                  <a:gd name="connsiteY0" fmla="*/ 21793 h 1117168"/>
                  <a:gd name="connsiteX1" fmla="*/ 0 w 1914525"/>
                  <a:gd name="connsiteY1" fmla="*/ 59893 h 1117168"/>
                  <a:gd name="connsiteX2" fmla="*/ 1581150 w 1914525"/>
                  <a:gd name="connsiteY2" fmla="*/ 1117168 h 1117168"/>
                  <a:gd name="connsiteX3" fmla="*/ 1914525 w 1914525"/>
                  <a:gd name="connsiteY3" fmla="*/ 955243 h 1117168"/>
                  <a:gd name="connsiteX4" fmla="*/ 704850 w 1914525"/>
                  <a:gd name="connsiteY4" fmla="*/ 21793 h 1117168"/>
                  <a:gd name="connsiteX0" fmla="*/ 704850 w 1914525"/>
                  <a:gd name="connsiteY0" fmla="*/ 21793 h 1079068"/>
                  <a:gd name="connsiteX1" fmla="*/ 0 w 1914525"/>
                  <a:gd name="connsiteY1" fmla="*/ 59893 h 1079068"/>
                  <a:gd name="connsiteX2" fmla="*/ 1676400 w 1914525"/>
                  <a:gd name="connsiteY2" fmla="*/ 1079068 h 1079068"/>
                  <a:gd name="connsiteX3" fmla="*/ 1914525 w 1914525"/>
                  <a:gd name="connsiteY3" fmla="*/ 955243 h 1079068"/>
                  <a:gd name="connsiteX4" fmla="*/ 704850 w 1914525"/>
                  <a:gd name="connsiteY4" fmla="*/ 21793 h 1079068"/>
                  <a:gd name="connsiteX0" fmla="*/ 485775 w 1695450"/>
                  <a:gd name="connsiteY0" fmla="*/ 21793 h 1079068"/>
                  <a:gd name="connsiteX1" fmla="*/ 0 w 1695450"/>
                  <a:gd name="connsiteY1" fmla="*/ 59893 h 1079068"/>
                  <a:gd name="connsiteX2" fmla="*/ 1457325 w 1695450"/>
                  <a:gd name="connsiteY2" fmla="*/ 1079068 h 1079068"/>
                  <a:gd name="connsiteX3" fmla="*/ 1695450 w 1695450"/>
                  <a:gd name="connsiteY3" fmla="*/ 955243 h 1079068"/>
                  <a:gd name="connsiteX4" fmla="*/ 485775 w 1695450"/>
                  <a:gd name="connsiteY4" fmla="*/ 21793 h 1079068"/>
                  <a:gd name="connsiteX0" fmla="*/ 485775 w 1695450"/>
                  <a:gd name="connsiteY0" fmla="*/ 21793 h 1021918"/>
                  <a:gd name="connsiteX1" fmla="*/ 0 w 1695450"/>
                  <a:gd name="connsiteY1" fmla="*/ 59893 h 1021918"/>
                  <a:gd name="connsiteX2" fmla="*/ 1362075 w 1695450"/>
                  <a:gd name="connsiteY2" fmla="*/ 1021918 h 1021918"/>
                  <a:gd name="connsiteX3" fmla="*/ 1695450 w 1695450"/>
                  <a:gd name="connsiteY3" fmla="*/ 955243 h 1021918"/>
                  <a:gd name="connsiteX4" fmla="*/ 485775 w 1695450"/>
                  <a:gd name="connsiteY4" fmla="*/ 21793 h 1021918"/>
                  <a:gd name="connsiteX0" fmla="*/ 485775 w 1695450"/>
                  <a:gd name="connsiteY0" fmla="*/ 16934 h 1017059"/>
                  <a:gd name="connsiteX1" fmla="*/ 0 w 1695450"/>
                  <a:gd name="connsiteY1" fmla="*/ 55034 h 1017059"/>
                  <a:gd name="connsiteX2" fmla="*/ 1362075 w 1695450"/>
                  <a:gd name="connsiteY2" fmla="*/ 1017059 h 1017059"/>
                  <a:gd name="connsiteX3" fmla="*/ 1695450 w 1695450"/>
                  <a:gd name="connsiteY3" fmla="*/ 950384 h 1017059"/>
                  <a:gd name="connsiteX4" fmla="*/ 485775 w 1695450"/>
                  <a:gd name="connsiteY4" fmla="*/ 16934 h 1017059"/>
                  <a:gd name="connsiteX0" fmla="*/ 485775 w 1695450"/>
                  <a:gd name="connsiteY0" fmla="*/ 16934 h 1017059"/>
                  <a:gd name="connsiteX1" fmla="*/ 0 w 1695450"/>
                  <a:gd name="connsiteY1" fmla="*/ 55034 h 1017059"/>
                  <a:gd name="connsiteX2" fmla="*/ 1362075 w 1695450"/>
                  <a:gd name="connsiteY2" fmla="*/ 1017059 h 1017059"/>
                  <a:gd name="connsiteX3" fmla="*/ 1695450 w 1695450"/>
                  <a:gd name="connsiteY3" fmla="*/ 950384 h 1017059"/>
                  <a:gd name="connsiteX4" fmla="*/ 485775 w 1695450"/>
                  <a:gd name="connsiteY4" fmla="*/ 16934 h 1017059"/>
                  <a:gd name="connsiteX0" fmla="*/ 419100 w 1628775"/>
                  <a:gd name="connsiteY0" fmla="*/ 16934 h 1017059"/>
                  <a:gd name="connsiteX1" fmla="*/ 0 w 1628775"/>
                  <a:gd name="connsiteY1" fmla="*/ 55034 h 1017059"/>
                  <a:gd name="connsiteX2" fmla="*/ 1295400 w 1628775"/>
                  <a:gd name="connsiteY2" fmla="*/ 1017059 h 1017059"/>
                  <a:gd name="connsiteX3" fmla="*/ 1628775 w 1628775"/>
                  <a:gd name="connsiteY3" fmla="*/ 950384 h 1017059"/>
                  <a:gd name="connsiteX4" fmla="*/ 419100 w 1628775"/>
                  <a:gd name="connsiteY4" fmla="*/ 16934 h 1017059"/>
                  <a:gd name="connsiteX0" fmla="*/ 419100 w 1628775"/>
                  <a:gd name="connsiteY0" fmla="*/ 21793 h 1021918"/>
                  <a:gd name="connsiteX1" fmla="*/ 0 w 1628775"/>
                  <a:gd name="connsiteY1" fmla="*/ 59893 h 1021918"/>
                  <a:gd name="connsiteX2" fmla="*/ 1295400 w 1628775"/>
                  <a:gd name="connsiteY2" fmla="*/ 1021918 h 1021918"/>
                  <a:gd name="connsiteX3" fmla="*/ 1628775 w 1628775"/>
                  <a:gd name="connsiteY3" fmla="*/ 955243 h 1021918"/>
                  <a:gd name="connsiteX4" fmla="*/ 419100 w 1628775"/>
                  <a:gd name="connsiteY4" fmla="*/ 21793 h 1021918"/>
                  <a:gd name="connsiteX0" fmla="*/ 419100 w 1628775"/>
                  <a:gd name="connsiteY0" fmla="*/ 38457 h 1038582"/>
                  <a:gd name="connsiteX1" fmla="*/ 0 w 1628775"/>
                  <a:gd name="connsiteY1" fmla="*/ 76557 h 1038582"/>
                  <a:gd name="connsiteX2" fmla="*/ 1295400 w 1628775"/>
                  <a:gd name="connsiteY2" fmla="*/ 1038582 h 1038582"/>
                  <a:gd name="connsiteX3" fmla="*/ 1628775 w 1628775"/>
                  <a:gd name="connsiteY3" fmla="*/ 971907 h 1038582"/>
                  <a:gd name="connsiteX4" fmla="*/ 419100 w 1628775"/>
                  <a:gd name="connsiteY4" fmla="*/ 38457 h 1038582"/>
                  <a:gd name="connsiteX0" fmla="*/ 419100 w 1628775"/>
                  <a:gd name="connsiteY0" fmla="*/ 42655 h 1042780"/>
                  <a:gd name="connsiteX1" fmla="*/ 0 w 1628775"/>
                  <a:gd name="connsiteY1" fmla="*/ 80755 h 1042780"/>
                  <a:gd name="connsiteX2" fmla="*/ 1295400 w 1628775"/>
                  <a:gd name="connsiteY2" fmla="*/ 1042780 h 1042780"/>
                  <a:gd name="connsiteX3" fmla="*/ 1628775 w 1628775"/>
                  <a:gd name="connsiteY3" fmla="*/ 976105 h 1042780"/>
                  <a:gd name="connsiteX4" fmla="*/ 419100 w 1628775"/>
                  <a:gd name="connsiteY4" fmla="*/ 42655 h 1042780"/>
                  <a:gd name="connsiteX0" fmla="*/ 419100 w 1628775"/>
                  <a:gd name="connsiteY0" fmla="*/ 42655 h 1042780"/>
                  <a:gd name="connsiteX1" fmla="*/ 0 w 1628775"/>
                  <a:gd name="connsiteY1" fmla="*/ 80755 h 1042780"/>
                  <a:gd name="connsiteX2" fmla="*/ 1295400 w 1628775"/>
                  <a:gd name="connsiteY2" fmla="*/ 1042780 h 1042780"/>
                  <a:gd name="connsiteX3" fmla="*/ 1628775 w 1628775"/>
                  <a:gd name="connsiteY3" fmla="*/ 976105 h 1042780"/>
                  <a:gd name="connsiteX4" fmla="*/ 419100 w 1628775"/>
                  <a:gd name="connsiteY4" fmla="*/ 42655 h 1042780"/>
                  <a:gd name="connsiteX0" fmla="*/ 419100 w 1628775"/>
                  <a:gd name="connsiteY0" fmla="*/ 45241 h 1045366"/>
                  <a:gd name="connsiteX1" fmla="*/ 0 w 1628775"/>
                  <a:gd name="connsiteY1" fmla="*/ 83341 h 1045366"/>
                  <a:gd name="connsiteX2" fmla="*/ 1295400 w 1628775"/>
                  <a:gd name="connsiteY2" fmla="*/ 1045366 h 1045366"/>
                  <a:gd name="connsiteX3" fmla="*/ 1628775 w 1628775"/>
                  <a:gd name="connsiteY3" fmla="*/ 978691 h 1045366"/>
                  <a:gd name="connsiteX4" fmla="*/ 419100 w 1628775"/>
                  <a:gd name="connsiteY4" fmla="*/ 45241 h 1045366"/>
                  <a:gd name="connsiteX0" fmla="*/ 383930 w 1593605"/>
                  <a:gd name="connsiteY0" fmla="*/ 45241 h 1045366"/>
                  <a:gd name="connsiteX1" fmla="*/ 0 w 1593605"/>
                  <a:gd name="connsiteY1" fmla="*/ 83341 h 1045366"/>
                  <a:gd name="connsiteX2" fmla="*/ 1260230 w 1593605"/>
                  <a:gd name="connsiteY2" fmla="*/ 1045366 h 1045366"/>
                  <a:gd name="connsiteX3" fmla="*/ 1593605 w 1593605"/>
                  <a:gd name="connsiteY3" fmla="*/ 978691 h 1045366"/>
                  <a:gd name="connsiteX4" fmla="*/ 383930 w 1593605"/>
                  <a:gd name="connsiteY4" fmla="*/ 45241 h 1045366"/>
                  <a:gd name="connsiteX0" fmla="*/ 383930 w 1593605"/>
                  <a:gd name="connsiteY0" fmla="*/ 38512 h 1038637"/>
                  <a:gd name="connsiteX1" fmla="*/ 0 w 1593605"/>
                  <a:gd name="connsiteY1" fmla="*/ 76612 h 1038637"/>
                  <a:gd name="connsiteX2" fmla="*/ 1260230 w 1593605"/>
                  <a:gd name="connsiteY2" fmla="*/ 1038637 h 1038637"/>
                  <a:gd name="connsiteX3" fmla="*/ 1593605 w 1593605"/>
                  <a:gd name="connsiteY3" fmla="*/ 971962 h 1038637"/>
                  <a:gd name="connsiteX4" fmla="*/ 383930 w 1593605"/>
                  <a:gd name="connsiteY4" fmla="*/ 38512 h 1038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3605" h="1038637">
                    <a:moveTo>
                      <a:pt x="383930" y="38512"/>
                    </a:moveTo>
                    <a:cubicBezTo>
                      <a:pt x="269874" y="-49899"/>
                      <a:pt x="81816" y="36070"/>
                      <a:pt x="0" y="76612"/>
                    </a:cubicBezTo>
                    <a:lnTo>
                      <a:pt x="1260230" y="1038637"/>
                    </a:lnTo>
                    <a:lnTo>
                      <a:pt x="1593605" y="971962"/>
                    </a:lnTo>
                    <a:lnTo>
                      <a:pt x="383930" y="38512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1200"/>
              </a:p>
            </p:txBody>
          </p:sp>
          <p:sp>
            <p:nvSpPr>
              <p:cNvPr id="12" name="Down Arrow 1">
                <a:extLst>
                  <a:ext uri="{FF2B5EF4-FFF2-40B4-BE49-F238E27FC236}">
                    <a16:creationId xmlns:a16="http://schemas.microsoft.com/office/drawing/2014/main" id="{40206848-2C2D-E4F9-1A3C-84CD489D48B2}"/>
                  </a:ext>
                </a:extLst>
              </p:cNvPr>
              <p:cNvSpPr/>
              <p:nvPr/>
            </p:nvSpPr>
            <p:spPr>
              <a:xfrm>
                <a:off x="3911199" y="1674909"/>
                <a:ext cx="1774760" cy="2737507"/>
              </a:xfrm>
              <a:custGeom>
                <a:avLst/>
                <a:gdLst>
                  <a:gd name="connsiteX0" fmla="*/ 221456 w 1800200"/>
                  <a:gd name="connsiteY0" fmla="*/ 0 h 2766815"/>
                  <a:gd name="connsiteX1" fmla="*/ 1512069 w 1800200"/>
                  <a:gd name="connsiteY1" fmla="*/ 9680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512069 w 1800200"/>
                  <a:gd name="connsiteY1" fmla="*/ 9680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0200" h="2766815">
                    <a:moveTo>
                      <a:pt x="221456" y="0"/>
                    </a:moveTo>
                    <a:lnTo>
                      <a:pt x="1464444" y="929953"/>
                    </a:lnTo>
                    <a:cubicBezTo>
                      <a:pt x="1514023" y="992361"/>
                      <a:pt x="1496194" y="1535415"/>
                      <a:pt x="1512069" y="1838146"/>
                    </a:cubicBezTo>
                    <a:lnTo>
                      <a:pt x="1800200" y="1838146"/>
                    </a:lnTo>
                    <a:lnTo>
                      <a:pt x="900100" y="2766815"/>
                    </a:lnTo>
                    <a:lnTo>
                      <a:pt x="0" y="1838146"/>
                    </a:lnTo>
                    <a:lnTo>
                      <a:pt x="288131" y="1838146"/>
                    </a:lnTo>
                    <a:cubicBezTo>
                      <a:pt x="288131" y="1238131"/>
                      <a:pt x="297656" y="104715"/>
                      <a:pt x="221456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1200"/>
              </a:p>
            </p:txBody>
          </p:sp>
        </p:grpSp>
        <p:grpSp>
          <p:nvGrpSpPr>
            <p:cNvPr id="35864" name="Group 7">
              <a:extLst>
                <a:ext uri="{FF2B5EF4-FFF2-40B4-BE49-F238E27FC236}">
                  <a16:creationId xmlns:a16="http://schemas.microsoft.com/office/drawing/2014/main" id="{5A5B58E3-A96D-9853-A5E4-ABF7EF99AE1A}"/>
                </a:ext>
              </a:extLst>
            </p:cNvPr>
            <p:cNvGrpSpPr>
              <a:grpSpLocks/>
            </p:cNvGrpSpPr>
            <p:nvPr/>
          </p:nvGrpSpPr>
          <p:grpSpPr bwMode="auto">
            <a:xfrm rot="-4185643">
              <a:off x="3566753" y="2310044"/>
              <a:ext cx="1116225" cy="1614080"/>
              <a:chOff x="4438518" y="2413540"/>
              <a:chExt cx="1913538" cy="2767006"/>
            </a:xfrm>
          </p:grpSpPr>
          <p:sp>
            <p:nvSpPr>
              <p:cNvPr id="9" name="Freeform 40">
                <a:extLst>
                  <a:ext uri="{FF2B5EF4-FFF2-40B4-BE49-F238E27FC236}">
                    <a16:creationId xmlns:a16="http://schemas.microsoft.com/office/drawing/2014/main" id="{6B4857C2-E139-4E8C-87ED-C206C197FB0F}"/>
                  </a:ext>
                </a:extLst>
              </p:cNvPr>
              <p:cNvSpPr/>
              <p:nvPr/>
            </p:nvSpPr>
            <p:spPr>
              <a:xfrm rot="1927941">
                <a:off x="4743924" y="2381005"/>
                <a:ext cx="1586198" cy="1043679"/>
              </a:xfrm>
              <a:custGeom>
                <a:avLst/>
                <a:gdLst>
                  <a:gd name="connsiteX0" fmla="*/ 714375 w 1924050"/>
                  <a:gd name="connsiteY0" fmla="*/ 9525 h 1104900"/>
                  <a:gd name="connsiteX1" fmla="*/ 0 w 1924050"/>
                  <a:gd name="connsiteY1" fmla="*/ 0 h 1104900"/>
                  <a:gd name="connsiteX2" fmla="*/ 1590675 w 1924050"/>
                  <a:gd name="connsiteY2" fmla="*/ 1104900 h 1104900"/>
                  <a:gd name="connsiteX3" fmla="*/ 1924050 w 1924050"/>
                  <a:gd name="connsiteY3" fmla="*/ 942975 h 1104900"/>
                  <a:gd name="connsiteX4" fmla="*/ 714375 w 1924050"/>
                  <a:gd name="connsiteY4" fmla="*/ 9525 h 1104900"/>
                  <a:gd name="connsiteX0" fmla="*/ 704850 w 1914525"/>
                  <a:gd name="connsiteY0" fmla="*/ 0 h 1095375"/>
                  <a:gd name="connsiteX1" fmla="*/ 0 w 1914525"/>
                  <a:gd name="connsiteY1" fmla="*/ 38100 h 1095375"/>
                  <a:gd name="connsiteX2" fmla="*/ 1581150 w 1914525"/>
                  <a:gd name="connsiteY2" fmla="*/ 1095375 h 1095375"/>
                  <a:gd name="connsiteX3" fmla="*/ 1914525 w 1914525"/>
                  <a:gd name="connsiteY3" fmla="*/ 933450 h 1095375"/>
                  <a:gd name="connsiteX4" fmla="*/ 704850 w 1914525"/>
                  <a:gd name="connsiteY4" fmla="*/ 0 h 1095375"/>
                  <a:gd name="connsiteX0" fmla="*/ 704850 w 1914525"/>
                  <a:gd name="connsiteY0" fmla="*/ 2444 h 1097819"/>
                  <a:gd name="connsiteX1" fmla="*/ 0 w 1914525"/>
                  <a:gd name="connsiteY1" fmla="*/ 40544 h 1097819"/>
                  <a:gd name="connsiteX2" fmla="*/ 1581150 w 1914525"/>
                  <a:gd name="connsiteY2" fmla="*/ 1097819 h 1097819"/>
                  <a:gd name="connsiteX3" fmla="*/ 1914525 w 1914525"/>
                  <a:gd name="connsiteY3" fmla="*/ 935894 h 1097819"/>
                  <a:gd name="connsiteX4" fmla="*/ 704850 w 1914525"/>
                  <a:gd name="connsiteY4" fmla="*/ 2444 h 1097819"/>
                  <a:gd name="connsiteX0" fmla="*/ 704850 w 1914525"/>
                  <a:gd name="connsiteY0" fmla="*/ 21793 h 1117168"/>
                  <a:gd name="connsiteX1" fmla="*/ 0 w 1914525"/>
                  <a:gd name="connsiteY1" fmla="*/ 59893 h 1117168"/>
                  <a:gd name="connsiteX2" fmla="*/ 1581150 w 1914525"/>
                  <a:gd name="connsiteY2" fmla="*/ 1117168 h 1117168"/>
                  <a:gd name="connsiteX3" fmla="*/ 1914525 w 1914525"/>
                  <a:gd name="connsiteY3" fmla="*/ 955243 h 1117168"/>
                  <a:gd name="connsiteX4" fmla="*/ 704850 w 1914525"/>
                  <a:gd name="connsiteY4" fmla="*/ 21793 h 1117168"/>
                  <a:gd name="connsiteX0" fmla="*/ 704850 w 1914525"/>
                  <a:gd name="connsiteY0" fmla="*/ 21793 h 1079068"/>
                  <a:gd name="connsiteX1" fmla="*/ 0 w 1914525"/>
                  <a:gd name="connsiteY1" fmla="*/ 59893 h 1079068"/>
                  <a:gd name="connsiteX2" fmla="*/ 1676400 w 1914525"/>
                  <a:gd name="connsiteY2" fmla="*/ 1079068 h 1079068"/>
                  <a:gd name="connsiteX3" fmla="*/ 1914525 w 1914525"/>
                  <a:gd name="connsiteY3" fmla="*/ 955243 h 1079068"/>
                  <a:gd name="connsiteX4" fmla="*/ 704850 w 1914525"/>
                  <a:gd name="connsiteY4" fmla="*/ 21793 h 1079068"/>
                  <a:gd name="connsiteX0" fmla="*/ 485775 w 1695450"/>
                  <a:gd name="connsiteY0" fmla="*/ 21793 h 1079068"/>
                  <a:gd name="connsiteX1" fmla="*/ 0 w 1695450"/>
                  <a:gd name="connsiteY1" fmla="*/ 59893 h 1079068"/>
                  <a:gd name="connsiteX2" fmla="*/ 1457325 w 1695450"/>
                  <a:gd name="connsiteY2" fmla="*/ 1079068 h 1079068"/>
                  <a:gd name="connsiteX3" fmla="*/ 1695450 w 1695450"/>
                  <a:gd name="connsiteY3" fmla="*/ 955243 h 1079068"/>
                  <a:gd name="connsiteX4" fmla="*/ 485775 w 1695450"/>
                  <a:gd name="connsiteY4" fmla="*/ 21793 h 1079068"/>
                  <a:gd name="connsiteX0" fmla="*/ 485775 w 1695450"/>
                  <a:gd name="connsiteY0" fmla="*/ 21793 h 1021918"/>
                  <a:gd name="connsiteX1" fmla="*/ 0 w 1695450"/>
                  <a:gd name="connsiteY1" fmla="*/ 59893 h 1021918"/>
                  <a:gd name="connsiteX2" fmla="*/ 1362075 w 1695450"/>
                  <a:gd name="connsiteY2" fmla="*/ 1021918 h 1021918"/>
                  <a:gd name="connsiteX3" fmla="*/ 1695450 w 1695450"/>
                  <a:gd name="connsiteY3" fmla="*/ 955243 h 1021918"/>
                  <a:gd name="connsiteX4" fmla="*/ 485775 w 1695450"/>
                  <a:gd name="connsiteY4" fmla="*/ 21793 h 1021918"/>
                  <a:gd name="connsiteX0" fmla="*/ 485775 w 1695450"/>
                  <a:gd name="connsiteY0" fmla="*/ 16934 h 1017059"/>
                  <a:gd name="connsiteX1" fmla="*/ 0 w 1695450"/>
                  <a:gd name="connsiteY1" fmla="*/ 55034 h 1017059"/>
                  <a:gd name="connsiteX2" fmla="*/ 1362075 w 1695450"/>
                  <a:gd name="connsiteY2" fmla="*/ 1017059 h 1017059"/>
                  <a:gd name="connsiteX3" fmla="*/ 1695450 w 1695450"/>
                  <a:gd name="connsiteY3" fmla="*/ 950384 h 1017059"/>
                  <a:gd name="connsiteX4" fmla="*/ 485775 w 1695450"/>
                  <a:gd name="connsiteY4" fmla="*/ 16934 h 1017059"/>
                  <a:gd name="connsiteX0" fmla="*/ 485775 w 1695450"/>
                  <a:gd name="connsiteY0" fmla="*/ 16934 h 1017059"/>
                  <a:gd name="connsiteX1" fmla="*/ 0 w 1695450"/>
                  <a:gd name="connsiteY1" fmla="*/ 55034 h 1017059"/>
                  <a:gd name="connsiteX2" fmla="*/ 1362075 w 1695450"/>
                  <a:gd name="connsiteY2" fmla="*/ 1017059 h 1017059"/>
                  <a:gd name="connsiteX3" fmla="*/ 1695450 w 1695450"/>
                  <a:gd name="connsiteY3" fmla="*/ 950384 h 1017059"/>
                  <a:gd name="connsiteX4" fmla="*/ 485775 w 1695450"/>
                  <a:gd name="connsiteY4" fmla="*/ 16934 h 1017059"/>
                  <a:gd name="connsiteX0" fmla="*/ 419100 w 1628775"/>
                  <a:gd name="connsiteY0" fmla="*/ 16934 h 1017059"/>
                  <a:gd name="connsiteX1" fmla="*/ 0 w 1628775"/>
                  <a:gd name="connsiteY1" fmla="*/ 55034 h 1017059"/>
                  <a:gd name="connsiteX2" fmla="*/ 1295400 w 1628775"/>
                  <a:gd name="connsiteY2" fmla="*/ 1017059 h 1017059"/>
                  <a:gd name="connsiteX3" fmla="*/ 1628775 w 1628775"/>
                  <a:gd name="connsiteY3" fmla="*/ 950384 h 1017059"/>
                  <a:gd name="connsiteX4" fmla="*/ 419100 w 1628775"/>
                  <a:gd name="connsiteY4" fmla="*/ 16934 h 1017059"/>
                  <a:gd name="connsiteX0" fmla="*/ 419100 w 1628775"/>
                  <a:gd name="connsiteY0" fmla="*/ 21793 h 1021918"/>
                  <a:gd name="connsiteX1" fmla="*/ 0 w 1628775"/>
                  <a:gd name="connsiteY1" fmla="*/ 59893 h 1021918"/>
                  <a:gd name="connsiteX2" fmla="*/ 1295400 w 1628775"/>
                  <a:gd name="connsiteY2" fmla="*/ 1021918 h 1021918"/>
                  <a:gd name="connsiteX3" fmla="*/ 1628775 w 1628775"/>
                  <a:gd name="connsiteY3" fmla="*/ 955243 h 1021918"/>
                  <a:gd name="connsiteX4" fmla="*/ 419100 w 1628775"/>
                  <a:gd name="connsiteY4" fmla="*/ 21793 h 1021918"/>
                  <a:gd name="connsiteX0" fmla="*/ 419100 w 1628775"/>
                  <a:gd name="connsiteY0" fmla="*/ 38457 h 1038582"/>
                  <a:gd name="connsiteX1" fmla="*/ 0 w 1628775"/>
                  <a:gd name="connsiteY1" fmla="*/ 76557 h 1038582"/>
                  <a:gd name="connsiteX2" fmla="*/ 1295400 w 1628775"/>
                  <a:gd name="connsiteY2" fmla="*/ 1038582 h 1038582"/>
                  <a:gd name="connsiteX3" fmla="*/ 1628775 w 1628775"/>
                  <a:gd name="connsiteY3" fmla="*/ 971907 h 1038582"/>
                  <a:gd name="connsiteX4" fmla="*/ 419100 w 1628775"/>
                  <a:gd name="connsiteY4" fmla="*/ 38457 h 1038582"/>
                  <a:gd name="connsiteX0" fmla="*/ 419100 w 1628775"/>
                  <a:gd name="connsiteY0" fmla="*/ 42655 h 1042780"/>
                  <a:gd name="connsiteX1" fmla="*/ 0 w 1628775"/>
                  <a:gd name="connsiteY1" fmla="*/ 80755 h 1042780"/>
                  <a:gd name="connsiteX2" fmla="*/ 1295400 w 1628775"/>
                  <a:gd name="connsiteY2" fmla="*/ 1042780 h 1042780"/>
                  <a:gd name="connsiteX3" fmla="*/ 1628775 w 1628775"/>
                  <a:gd name="connsiteY3" fmla="*/ 976105 h 1042780"/>
                  <a:gd name="connsiteX4" fmla="*/ 419100 w 1628775"/>
                  <a:gd name="connsiteY4" fmla="*/ 42655 h 1042780"/>
                  <a:gd name="connsiteX0" fmla="*/ 419100 w 1628775"/>
                  <a:gd name="connsiteY0" fmla="*/ 42655 h 1042780"/>
                  <a:gd name="connsiteX1" fmla="*/ 0 w 1628775"/>
                  <a:gd name="connsiteY1" fmla="*/ 80755 h 1042780"/>
                  <a:gd name="connsiteX2" fmla="*/ 1295400 w 1628775"/>
                  <a:gd name="connsiteY2" fmla="*/ 1042780 h 1042780"/>
                  <a:gd name="connsiteX3" fmla="*/ 1628775 w 1628775"/>
                  <a:gd name="connsiteY3" fmla="*/ 976105 h 1042780"/>
                  <a:gd name="connsiteX4" fmla="*/ 419100 w 1628775"/>
                  <a:gd name="connsiteY4" fmla="*/ 42655 h 1042780"/>
                  <a:gd name="connsiteX0" fmla="*/ 419100 w 1628775"/>
                  <a:gd name="connsiteY0" fmla="*/ 45241 h 1045366"/>
                  <a:gd name="connsiteX1" fmla="*/ 0 w 1628775"/>
                  <a:gd name="connsiteY1" fmla="*/ 83341 h 1045366"/>
                  <a:gd name="connsiteX2" fmla="*/ 1295400 w 1628775"/>
                  <a:gd name="connsiteY2" fmla="*/ 1045366 h 1045366"/>
                  <a:gd name="connsiteX3" fmla="*/ 1628775 w 1628775"/>
                  <a:gd name="connsiteY3" fmla="*/ 978691 h 1045366"/>
                  <a:gd name="connsiteX4" fmla="*/ 419100 w 1628775"/>
                  <a:gd name="connsiteY4" fmla="*/ 45241 h 1045366"/>
                  <a:gd name="connsiteX0" fmla="*/ 383930 w 1593605"/>
                  <a:gd name="connsiteY0" fmla="*/ 45241 h 1045366"/>
                  <a:gd name="connsiteX1" fmla="*/ 0 w 1593605"/>
                  <a:gd name="connsiteY1" fmla="*/ 83341 h 1045366"/>
                  <a:gd name="connsiteX2" fmla="*/ 1260230 w 1593605"/>
                  <a:gd name="connsiteY2" fmla="*/ 1045366 h 1045366"/>
                  <a:gd name="connsiteX3" fmla="*/ 1593605 w 1593605"/>
                  <a:gd name="connsiteY3" fmla="*/ 978691 h 1045366"/>
                  <a:gd name="connsiteX4" fmla="*/ 383930 w 1593605"/>
                  <a:gd name="connsiteY4" fmla="*/ 45241 h 1045366"/>
                  <a:gd name="connsiteX0" fmla="*/ 383930 w 1593605"/>
                  <a:gd name="connsiteY0" fmla="*/ 38512 h 1038637"/>
                  <a:gd name="connsiteX1" fmla="*/ 0 w 1593605"/>
                  <a:gd name="connsiteY1" fmla="*/ 76612 h 1038637"/>
                  <a:gd name="connsiteX2" fmla="*/ 1260230 w 1593605"/>
                  <a:gd name="connsiteY2" fmla="*/ 1038637 h 1038637"/>
                  <a:gd name="connsiteX3" fmla="*/ 1593605 w 1593605"/>
                  <a:gd name="connsiteY3" fmla="*/ 971962 h 1038637"/>
                  <a:gd name="connsiteX4" fmla="*/ 383930 w 1593605"/>
                  <a:gd name="connsiteY4" fmla="*/ 38512 h 1038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3605" h="1038637">
                    <a:moveTo>
                      <a:pt x="383930" y="38512"/>
                    </a:moveTo>
                    <a:cubicBezTo>
                      <a:pt x="269874" y="-49899"/>
                      <a:pt x="81816" y="36070"/>
                      <a:pt x="0" y="76612"/>
                    </a:cubicBezTo>
                    <a:lnTo>
                      <a:pt x="1260230" y="1038637"/>
                    </a:lnTo>
                    <a:lnTo>
                      <a:pt x="1593605" y="971962"/>
                    </a:lnTo>
                    <a:lnTo>
                      <a:pt x="383930" y="38512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1200"/>
              </a:p>
            </p:txBody>
          </p:sp>
          <p:sp>
            <p:nvSpPr>
              <p:cNvPr id="10" name="Down Arrow 1">
                <a:extLst>
                  <a:ext uri="{FF2B5EF4-FFF2-40B4-BE49-F238E27FC236}">
                    <a16:creationId xmlns:a16="http://schemas.microsoft.com/office/drawing/2014/main" id="{A8A21C15-B5B0-FD36-9E50-2AB59C745A7F}"/>
                  </a:ext>
                </a:extLst>
              </p:cNvPr>
              <p:cNvSpPr/>
              <p:nvPr/>
            </p:nvSpPr>
            <p:spPr>
              <a:xfrm rot="1927941">
                <a:off x="4439454" y="2414939"/>
                <a:ext cx="1794841" cy="2765497"/>
              </a:xfrm>
              <a:custGeom>
                <a:avLst/>
                <a:gdLst>
                  <a:gd name="connsiteX0" fmla="*/ 221456 w 1800200"/>
                  <a:gd name="connsiteY0" fmla="*/ 0 h 2766815"/>
                  <a:gd name="connsiteX1" fmla="*/ 1512069 w 1800200"/>
                  <a:gd name="connsiteY1" fmla="*/ 9680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512069 w 1800200"/>
                  <a:gd name="connsiteY1" fmla="*/ 9680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  <a:gd name="connsiteX0" fmla="*/ 221456 w 1800200"/>
                  <a:gd name="connsiteY0" fmla="*/ 0 h 2766815"/>
                  <a:gd name="connsiteX1" fmla="*/ 1464444 w 1800200"/>
                  <a:gd name="connsiteY1" fmla="*/ 929953 h 2766815"/>
                  <a:gd name="connsiteX2" fmla="*/ 1512069 w 1800200"/>
                  <a:gd name="connsiteY2" fmla="*/ 1838146 h 2766815"/>
                  <a:gd name="connsiteX3" fmla="*/ 1800200 w 1800200"/>
                  <a:gd name="connsiteY3" fmla="*/ 1838146 h 2766815"/>
                  <a:gd name="connsiteX4" fmla="*/ 900100 w 1800200"/>
                  <a:gd name="connsiteY4" fmla="*/ 2766815 h 2766815"/>
                  <a:gd name="connsiteX5" fmla="*/ 0 w 1800200"/>
                  <a:gd name="connsiteY5" fmla="*/ 1838146 h 2766815"/>
                  <a:gd name="connsiteX6" fmla="*/ 288131 w 1800200"/>
                  <a:gd name="connsiteY6" fmla="*/ 1838146 h 2766815"/>
                  <a:gd name="connsiteX7" fmla="*/ 221456 w 1800200"/>
                  <a:gd name="connsiteY7" fmla="*/ 0 h 2766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0200" h="2766815">
                    <a:moveTo>
                      <a:pt x="221456" y="0"/>
                    </a:moveTo>
                    <a:lnTo>
                      <a:pt x="1464444" y="929953"/>
                    </a:lnTo>
                    <a:cubicBezTo>
                      <a:pt x="1514023" y="992361"/>
                      <a:pt x="1496194" y="1535415"/>
                      <a:pt x="1512069" y="1838146"/>
                    </a:cubicBezTo>
                    <a:lnTo>
                      <a:pt x="1800200" y="1838146"/>
                    </a:lnTo>
                    <a:lnTo>
                      <a:pt x="900100" y="2766815"/>
                    </a:lnTo>
                    <a:lnTo>
                      <a:pt x="0" y="1838146"/>
                    </a:lnTo>
                    <a:lnTo>
                      <a:pt x="288131" y="1838146"/>
                    </a:lnTo>
                    <a:cubicBezTo>
                      <a:pt x="288131" y="1238131"/>
                      <a:pt x="297656" y="104715"/>
                      <a:pt x="22145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1200"/>
              </a:p>
            </p:txBody>
          </p:sp>
        </p:grpSp>
      </p:grpSp>
      <p:grpSp>
        <p:nvGrpSpPr>
          <p:cNvPr id="35844" name="그룹 8">
            <a:extLst>
              <a:ext uri="{FF2B5EF4-FFF2-40B4-BE49-F238E27FC236}">
                <a16:creationId xmlns:a16="http://schemas.microsoft.com/office/drawing/2014/main" id="{FD1066B4-19D0-35C5-59D4-98D1A416F626}"/>
              </a:ext>
            </a:extLst>
          </p:cNvPr>
          <p:cNvGrpSpPr>
            <a:grpSpLocks/>
          </p:cNvGrpSpPr>
          <p:nvPr/>
        </p:nvGrpSpPr>
        <p:grpSpPr bwMode="auto">
          <a:xfrm>
            <a:off x="8181975" y="1549398"/>
            <a:ext cx="3443288" cy="1855410"/>
            <a:chOff x="7871725" y="2728956"/>
            <a:chExt cx="2304256" cy="185438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CB382C6-A429-5021-66FD-EAE657392D2F}"/>
                </a:ext>
              </a:extLst>
            </p:cNvPr>
            <p:cNvSpPr txBox="1"/>
            <p:nvPr/>
          </p:nvSpPr>
          <p:spPr>
            <a:xfrm>
              <a:off x="7871725" y="2728956"/>
              <a:ext cx="2304256" cy="337951"/>
            </a:xfrm>
            <a:prstGeom prst="rect">
              <a:avLst/>
            </a:prstGeom>
            <a:noFill/>
          </p:spPr>
          <p:txBody>
            <a:bodyPr lIns="0" anchor="ctr">
              <a:spAutoFit/>
            </a:bodyPr>
            <a:lstStyle/>
            <a:p>
              <a:pPr>
                <a:defRPr/>
              </a:pPr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rainer/instructor</a:t>
              </a:r>
              <a:endPara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A7CC32-991F-9C26-C290-02DE87FD80FA}"/>
                </a:ext>
              </a:extLst>
            </p:cNvPr>
            <p:cNvSpPr txBox="1"/>
            <p:nvPr/>
          </p:nvSpPr>
          <p:spPr>
            <a:xfrm>
              <a:off x="7871725" y="3014548"/>
              <a:ext cx="2304256" cy="1568792"/>
            </a:xfrm>
            <a:prstGeom prst="rect">
              <a:avLst/>
            </a:prstGeom>
            <a:noFill/>
          </p:spPr>
          <p:txBody>
            <a:bodyPr lIns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Qualification requirements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ccreditation process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Visit to operations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Renewal process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Evaluation feedback 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35845" name="그룹 9">
            <a:extLst>
              <a:ext uri="{FF2B5EF4-FFF2-40B4-BE49-F238E27FC236}">
                <a16:creationId xmlns:a16="http://schemas.microsoft.com/office/drawing/2014/main" id="{CF7C3901-C9F3-E3E1-41B9-29F6FFFC5317}"/>
              </a:ext>
            </a:extLst>
          </p:cNvPr>
          <p:cNvGrpSpPr>
            <a:grpSpLocks/>
          </p:cNvGrpSpPr>
          <p:nvPr/>
        </p:nvGrpSpPr>
        <p:grpSpPr bwMode="auto">
          <a:xfrm>
            <a:off x="8349940" y="3819559"/>
            <a:ext cx="3443288" cy="1362967"/>
            <a:chOff x="7871724" y="4143999"/>
            <a:chExt cx="2304257" cy="1362330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2F9B67B-3127-70F9-823D-7FEF651E8F25}"/>
                </a:ext>
              </a:extLst>
            </p:cNvPr>
            <p:cNvSpPr txBox="1"/>
            <p:nvPr/>
          </p:nvSpPr>
          <p:spPr>
            <a:xfrm>
              <a:off x="7871724" y="4143999"/>
              <a:ext cx="2304257" cy="337979"/>
            </a:xfrm>
            <a:prstGeom prst="rect">
              <a:avLst/>
            </a:prstGeom>
            <a:noFill/>
          </p:spPr>
          <p:txBody>
            <a:bodyPr lIns="0" anchor="ctr">
              <a:spAutoFit/>
            </a:bodyPr>
            <a:lstStyle/>
            <a:p>
              <a:pPr>
                <a:defRPr/>
              </a:pPr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ssessors</a:t>
              </a:r>
              <a:endPara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6DAB39F-2C77-B19B-8468-1AE573DC6BDE}"/>
                </a:ext>
              </a:extLst>
            </p:cNvPr>
            <p:cNvSpPr txBox="1"/>
            <p:nvPr/>
          </p:nvSpPr>
          <p:spPr>
            <a:xfrm>
              <a:off x="7871724" y="4429615"/>
              <a:ext cx="2304257" cy="1076714"/>
            </a:xfrm>
            <a:prstGeom prst="rect">
              <a:avLst/>
            </a:prstGeom>
            <a:noFill/>
          </p:spPr>
          <p:txBody>
            <a:bodyPr lIns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Qualifications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ompetencies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ccreditation 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35846" name="그룹 6">
            <a:extLst>
              <a:ext uri="{FF2B5EF4-FFF2-40B4-BE49-F238E27FC236}">
                <a16:creationId xmlns:a16="http://schemas.microsoft.com/office/drawing/2014/main" id="{B2372A86-4913-85FA-1DC0-C668FDA082E7}"/>
              </a:ext>
            </a:extLst>
          </p:cNvPr>
          <p:cNvGrpSpPr>
            <a:grpSpLocks/>
          </p:cNvGrpSpPr>
          <p:nvPr/>
        </p:nvGrpSpPr>
        <p:grpSpPr bwMode="auto">
          <a:xfrm>
            <a:off x="513691" y="1471549"/>
            <a:ext cx="3489325" cy="1362967"/>
            <a:chOff x="2375857" y="2132602"/>
            <a:chExt cx="2304256" cy="1362330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D720276-C6E2-1BB0-5935-EF47AE3C1ABD}"/>
                </a:ext>
              </a:extLst>
            </p:cNvPr>
            <p:cNvSpPr txBox="1"/>
            <p:nvPr/>
          </p:nvSpPr>
          <p:spPr>
            <a:xfrm>
              <a:off x="2375857" y="2132602"/>
              <a:ext cx="2304256" cy="337980"/>
            </a:xfrm>
            <a:prstGeom prst="rect">
              <a:avLst/>
            </a:prstGeom>
            <a:noFill/>
          </p:spPr>
          <p:txBody>
            <a:bodyPr lIns="0" anchor="ctr">
              <a:spAutoFit/>
            </a:bodyPr>
            <a:lstStyle/>
            <a:p>
              <a:pPr>
                <a:defRPr/>
              </a:pPr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Employer</a:t>
              </a:r>
              <a:endPara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53C00A1-6B0F-9C71-A3D5-A77689221A8B}"/>
                </a:ext>
              </a:extLst>
            </p:cNvPr>
            <p:cNvSpPr txBox="1"/>
            <p:nvPr/>
          </p:nvSpPr>
          <p:spPr>
            <a:xfrm>
              <a:off x="2375857" y="2418218"/>
              <a:ext cx="2304256" cy="1076714"/>
            </a:xfrm>
            <a:prstGeom prst="rect">
              <a:avLst/>
            </a:prstGeom>
            <a:noFill/>
          </p:spPr>
          <p:txBody>
            <a:bodyPr lIns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BTA programme requirements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pplication for approval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ubmission for approval</a:t>
              </a:r>
            </a:p>
            <a:p>
              <a:pPr>
                <a:defRPr/>
              </a:pP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 </a:t>
              </a:r>
              <a:endPara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35847" name="그룹 5">
            <a:extLst>
              <a:ext uri="{FF2B5EF4-FFF2-40B4-BE49-F238E27FC236}">
                <a16:creationId xmlns:a16="http://schemas.microsoft.com/office/drawing/2014/main" id="{5387BA02-0CDC-4A73-712C-398C957D3125}"/>
              </a:ext>
            </a:extLst>
          </p:cNvPr>
          <p:cNvGrpSpPr>
            <a:grpSpLocks/>
          </p:cNvGrpSpPr>
          <p:nvPr/>
        </p:nvGrpSpPr>
        <p:grpSpPr bwMode="auto">
          <a:xfrm>
            <a:off x="555142" y="3703632"/>
            <a:ext cx="4156075" cy="1866521"/>
            <a:chOff x="2375857" y="3932802"/>
            <a:chExt cx="2304256" cy="1800947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0DFF11A-9574-EFDC-1B18-28F39DF7749F}"/>
                </a:ext>
              </a:extLst>
            </p:cNvPr>
            <p:cNvSpPr txBox="1"/>
            <p:nvPr/>
          </p:nvSpPr>
          <p:spPr>
            <a:xfrm>
              <a:off x="2375857" y="3932802"/>
              <a:ext cx="2304256" cy="338511"/>
            </a:xfrm>
            <a:prstGeom prst="rect">
              <a:avLst/>
            </a:prstGeom>
            <a:noFill/>
          </p:spPr>
          <p:txBody>
            <a:bodyPr lIns="0" anchor="ctr">
              <a:spAutoFit/>
            </a:bodyPr>
            <a:lstStyle/>
            <a:p>
              <a:pPr>
                <a:defRPr/>
              </a:pPr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Regulator</a:t>
              </a:r>
              <a:endPara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1A9AE2E-CC4F-9A3F-3D48-2B2C2A3FAA6E}"/>
                </a:ext>
              </a:extLst>
            </p:cNvPr>
            <p:cNvSpPr txBox="1"/>
            <p:nvPr/>
          </p:nvSpPr>
          <p:spPr>
            <a:xfrm>
              <a:off x="2375857" y="4219234"/>
              <a:ext cx="2304256" cy="1514515"/>
            </a:xfrm>
            <a:prstGeom prst="rect">
              <a:avLst/>
            </a:prstGeom>
            <a:noFill/>
          </p:spPr>
          <p:txBody>
            <a:bodyPr lIns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BTA applicability scope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BTA requirements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Provide TGMs/Checklist/application forms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ZA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pproval of CBTA programmes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Oversight 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Record keeping</a:t>
              </a:r>
              <a:endPara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56" name="Class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CE4AA44-5F40-B5D2-DCE6-E63F12D863B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166036" y="3368267"/>
            <a:ext cx="634558" cy="542925"/>
            <a:chOff x="8562976" y="5951538"/>
            <a:chExt cx="879475" cy="752475"/>
          </a:xfrm>
          <a:solidFill>
            <a:schemeClr val="bg1"/>
          </a:solidFill>
        </p:grpSpPr>
        <p:sp>
          <p:nvSpPr>
            <p:cNvPr id="57" name="Freeform 216">
              <a:extLst>
                <a:ext uri="{FF2B5EF4-FFF2-40B4-BE49-F238E27FC236}">
                  <a16:creationId xmlns:a16="http://schemas.microsoft.com/office/drawing/2014/main" id="{6A42FFDC-001C-8043-AEE1-354F604A0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2426" y="6080125"/>
              <a:ext cx="141288" cy="38100"/>
            </a:xfrm>
            <a:custGeom>
              <a:avLst/>
              <a:gdLst>
                <a:gd name="T0" fmla="*/ 0 w 186"/>
                <a:gd name="T1" fmla="*/ 50 h 50"/>
                <a:gd name="T2" fmla="*/ 186 w 186"/>
                <a:gd name="T3" fmla="*/ 50 h 50"/>
                <a:gd name="T4" fmla="*/ 186 w 186"/>
                <a:gd name="T5" fmla="*/ 0 h 50"/>
                <a:gd name="T6" fmla="*/ 3 w 186"/>
                <a:gd name="T7" fmla="*/ 0 h 50"/>
                <a:gd name="T8" fmla="*/ 5 w 186"/>
                <a:gd name="T9" fmla="*/ 30 h 50"/>
                <a:gd name="T10" fmla="*/ 0 w 186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" h="50">
                  <a:moveTo>
                    <a:pt x="0" y="50"/>
                  </a:moveTo>
                  <a:lnTo>
                    <a:pt x="186" y="50"/>
                  </a:lnTo>
                  <a:lnTo>
                    <a:pt x="186" y="0"/>
                  </a:lnTo>
                  <a:lnTo>
                    <a:pt x="3" y="0"/>
                  </a:lnTo>
                  <a:cubicBezTo>
                    <a:pt x="5" y="9"/>
                    <a:pt x="6" y="20"/>
                    <a:pt x="5" y="30"/>
                  </a:cubicBezTo>
                  <a:cubicBezTo>
                    <a:pt x="4" y="37"/>
                    <a:pt x="2" y="43"/>
                    <a:pt x="0" y="5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reeform 217">
              <a:extLst>
                <a:ext uri="{FF2B5EF4-FFF2-40B4-BE49-F238E27FC236}">
                  <a16:creationId xmlns:a16="http://schemas.microsoft.com/office/drawing/2014/main" id="{BC90C0F4-0E68-CCF2-AD3C-E2C355D5B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4588" y="6011863"/>
              <a:ext cx="458788" cy="357188"/>
            </a:xfrm>
            <a:custGeom>
              <a:avLst/>
              <a:gdLst>
                <a:gd name="T0" fmla="*/ 119 w 601"/>
                <a:gd name="T1" fmla="*/ 301 h 469"/>
                <a:gd name="T2" fmla="*/ 269 w 601"/>
                <a:gd name="T3" fmla="*/ 451 h 469"/>
                <a:gd name="T4" fmla="*/ 267 w 601"/>
                <a:gd name="T5" fmla="*/ 469 h 469"/>
                <a:gd name="T6" fmla="*/ 317 w 601"/>
                <a:gd name="T7" fmla="*/ 462 h 469"/>
                <a:gd name="T8" fmla="*/ 317 w 601"/>
                <a:gd name="T9" fmla="*/ 276 h 469"/>
                <a:gd name="T10" fmla="*/ 569 w 601"/>
                <a:gd name="T11" fmla="*/ 151 h 469"/>
                <a:gd name="T12" fmla="*/ 581 w 601"/>
                <a:gd name="T13" fmla="*/ 78 h 469"/>
                <a:gd name="T14" fmla="*/ 596 w 601"/>
                <a:gd name="T15" fmla="*/ 37 h 469"/>
                <a:gd name="T16" fmla="*/ 581 w 601"/>
                <a:gd name="T17" fmla="*/ 5 h 469"/>
                <a:gd name="T18" fmla="*/ 549 w 601"/>
                <a:gd name="T19" fmla="*/ 20 h 469"/>
                <a:gd name="T20" fmla="*/ 536 w 601"/>
                <a:gd name="T21" fmla="*/ 56 h 469"/>
                <a:gd name="T22" fmla="*/ 519 w 601"/>
                <a:gd name="T23" fmla="*/ 60 h 469"/>
                <a:gd name="T24" fmla="*/ 254 w 601"/>
                <a:gd name="T25" fmla="*/ 152 h 469"/>
                <a:gd name="T26" fmla="*/ 186 w 601"/>
                <a:gd name="T27" fmla="*/ 208 h 469"/>
                <a:gd name="T28" fmla="*/ 118 w 601"/>
                <a:gd name="T29" fmla="*/ 157 h 469"/>
                <a:gd name="T30" fmla="*/ 0 w 601"/>
                <a:gd name="T31" fmla="*/ 300 h 469"/>
                <a:gd name="T32" fmla="*/ 0 w 601"/>
                <a:gd name="T33" fmla="*/ 361 h 469"/>
                <a:gd name="T34" fmla="*/ 119 w 601"/>
                <a:gd name="T35" fmla="*/ 301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1" h="469">
                  <a:moveTo>
                    <a:pt x="119" y="301"/>
                  </a:moveTo>
                  <a:cubicBezTo>
                    <a:pt x="201" y="301"/>
                    <a:pt x="269" y="369"/>
                    <a:pt x="269" y="451"/>
                  </a:cubicBezTo>
                  <a:cubicBezTo>
                    <a:pt x="269" y="457"/>
                    <a:pt x="268" y="463"/>
                    <a:pt x="267" y="469"/>
                  </a:cubicBezTo>
                  <a:cubicBezTo>
                    <a:pt x="282" y="464"/>
                    <a:pt x="299" y="462"/>
                    <a:pt x="317" y="462"/>
                  </a:cubicBezTo>
                  <a:lnTo>
                    <a:pt x="317" y="276"/>
                  </a:lnTo>
                  <a:cubicBezTo>
                    <a:pt x="420" y="242"/>
                    <a:pt x="511" y="194"/>
                    <a:pt x="569" y="151"/>
                  </a:cubicBezTo>
                  <a:cubicBezTo>
                    <a:pt x="592" y="133"/>
                    <a:pt x="597" y="103"/>
                    <a:pt x="581" y="78"/>
                  </a:cubicBezTo>
                  <a:lnTo>
                    <a:pt x="596" y="37"/>
                  </a:lnTo>
                  <a:cubicBezTo>
                    <a:pt x="601" y="24"/>
                    <a:pt x="594" y="10"/>
                    <a:pt x="581" y="5"/>
                  </a:cubicBezTo>
                  <a:cubicBezTo>
                    <a:pt x="568" y="0"/>
                    <a:pt x="554" y="7"/>
                    <a:pt x="549" y="20"/>
                  </a:cubicBezTo>
                  <a:lnTo>
                    <a:pt x="536" y="56"/>
                  </a:lnTo>
                  <a:cubicBezTo>
                    <a:pt x="530" y="56"/>
                    <a:pt x="524" y="57"/>
                    <a:pt x="519" y="60"/>
                  </a:cubicBezTo>
                  <a:cubicBezTo>
                    <a:pt x="399" y="131"/>
                    <a:pt x="317" y="148"/>
                    <a:pt x="254" y="152"/>
                  </a:cubicBezTo>
                  <a:lnTo>
                    <a:pt x="186" y="208"/>
                  </a:lnTo>
                  <a:lnTo>
                    <a:pt x="118" y="157"/>
                  </a:lnTo>
                  <a:cubicBezTo>
                    <a:pt x="47" y="170"/>
                    <a:pt x="0" y="212"/>
                    <a:pt x="0" y="300"/>
                  </a:cubicBezTo>
                  <a:lnTo>
                    <a:pt x="0" y="361"/>
                  </a:lnTo>
                  <a:cubicBezTo>
                    <a:pt x="27" y="325"/>
                    <a:pt x="70" y="301"/>
                    <a:pt x="119" y="3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Oval 218">
              <a:extLst>
                <a:ext uri="{FF2B5EF4-FFF2-40B4-BE49-F238E27FC236}">
                  <a16:creationId xmlns:a16="http://schemas.microsoft.com/office/drawing/2014/main" id="{3597CBCD-3DAB-132E-762E-2B1F6BCDE2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1738" y="5951538"/>
              <a:ext cx="163513" cy="1635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Rectangle 219">
              <a:extLst>
                <a:ext uri="{FF2B5EF4-FFF2-40B4-BE49-F238E27FC236}">
                  <a16:creationId xmlns:a16="http://schemas.microsoft.com/office/drawing/2014/main" id="{76D290AC-42EF-A752-1FBB-D266FA0BB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36051" y="5957888"/>
              <a:ext cx="347663" cy="381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reeform 220">
              <a:extLst>
                <a:ext uri="{FF2B5EF4-FFF2-40B4-BE49-F238E27FC236}">
                  <a16:creationId xmlns:a16="http://schemas.microsoft.com/office/drawing/2014/main" id="{EEF84A03-BDE2-75FF-4626-7B2D44767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6851" y="6454775"/>
              <a:ext cx="136525" cy="153988"/>
            </a:xfrm>
            <a:custGeom>
              <a:avLst/>
              <a:gdLst>
                <a:gd name="T0" fmla="*/ 180 w 180"/>
                <a:gd name="T1" fmla="*/ 132 h 202"/>
                <a:gd name="T2" fmla="*/ 140 w 180"/>
                <a:gd name="T3" fmla="*/ 29 h 202"/>
                <a:gd name="T4" fmla="*/ 142 w 180"/>
                <a:gd name="T5" fmla="*/ 4 h 202"/>
                <a:gd name="T6" fmla="*/ 92 w 180"/>
                <a:gd name="T7" fmla="*/ 0 h 202"/>
                <a:gd name="T8" fmla="*/ 39 w 180"/>
                <a:gd name="T9" fmla="*/ 4 h 202"/>
                <a:gd name="T10" fmla="*/ 41 w 180"/>
                <a:gd name="T11" fmla="*/ 29 h 202"/>
                <a:gd name="T12" fmla="*/ 0 w 180"/>
                <a:gd name="T13" fmla="*/ 132 h 202"/>
                <a:gd name="T14" fmla="*/ 90 w 180"/>
                <a:gd name="T15" fmla="*/ 202 h 202"/>
                <a:gd name="T16" fmla="*/ 180 w 180"/>
                <a:gd name="T17" fmla="*/ 13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0" h="202">
                  <a:moveTo>
                    <a:pt x="180" y="132"/>
                  </a:moveTo>
                  <a:cubicBezTo>
                    <a:pt x="155" y="105"/>
                    <a:pt x="140" y="69"/>
                    <a:pt x="140" y="29"/>
                  </a:cubicBezTo>
                  <a:cubicBezTo>
                    <a:pt x="140" y="21"/>
                    <a:pt x="141" y="12"/>
                    <a:pt x="142" y="4"/>
                  </a:cubicBezTo>
                  <a:cubicBezTo>
                    <a:pt x="126" y="1"/>
                    <a:pt x="109" y="0"/>
                    <a:pt x="92" y="0"/>
                  </a:cubicBezTo>
                  <a:cubicBezTo>
                    <a:pt x="73" y="0"/>
                    <a:pt x="55" y="2"/>
                    <a:pt x="39" y="4"/>
                  </a:cubicBezTo>
                  <a:cubicBezTo>
                    <a:pt x="40" y="12"/>
                    <a:pt x="41" y="21"/>
                    <a:pt x="41" y="29"/>
                  </a:cubicBezTo>
                  <a:cubicBezTo>
                    <a:pt x="41" y="69"/>
                    <a:pt x="26" y="105"/>
                    <a:pt x="0" y="132"/>
                  </a:cubicBezTo>
                  <a:cubicBezTo>
                    <a:pt x="41" y="146"/>
                    <a:pt x="71" y="170"/>
                    <a:pt x="90" y="202"/>
                  </a:cubicBezTo>
                  <a:cubicBezTo>
                    <a:pt x="110" y="170"/>
                    <a:pt x="140" y="146"/>
                    <a:pt x="180" y="13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Oval 221">
              <a:extLst>
                <a:ext uri="{FF2B5EF4-FFF2-40B4-BE49-F238E27FC236}">
                  <a16:creationId xmlns:a16="http://schemas.microsoft.com/office/drawing/2014/main" id="{537A95D2-D777-B76E-CB5D-1761F1099C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7326" y="6276975"/>
              <a:ext cx="158750" cy="15716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reeform 222">
              <a:extLst>
                <a:ext uri="{FF2B5EF4-FFF2-40B4-BE49-F238E27FC236}">
                  <a16:creationId xmlns:a16="http://schemas.microsoft.com/office/drawing/2014/main" id="{41BFE07D-DEF3-C8D2-DFC5-90E4A97AA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5701" y="6454775"/>
              <a:ext cx="144463" cy="158750"/>
            </a:xfrm>
            <a:custGeom>
              <a:avLst/>
              <a:gdLst>
                <a:gd name="T0" fmla="*/ 191 w 191"/>
                <a:gd name="T1" fmla="*/ 132 h 207"/>
                <a:gd name="T2" fmla="*/ 151 w 191"/>
                <a:gd name="T3" fmla="*/ 29 h 207"/>
                <a:gd name="T4" fmla="*/ 153 w 191"/>
                <a:gd name="T5" fmla="*/ 3 h 207"/>
                <a:gd name="T6" fmla="*/ 105 w 191"/>
                <a:gd name="T7" fmla="*/ 0 h 207"/>
                <a:gd name="T8" fmla="*/ 44 w 191"/>
                <a:gd name="T9" fmla="*/ 6 h 207"/>
                <a:gd name="T10" fmla="*/ 46 w 191"/>
                <a:gd name="T11" fmla="*/ 29 h 207"/>
                <a:gd name="T12" fmla="*/ 0 w 191"/>
                <a:gd name="T13" fmla="*/ 134 h 207"/>
                <a:gd name="T14" fmla="*/ 98 w 191"/>
                <a:gd name="T15" fmla="*/ 207 h 207"/>
                <a:gd name="T16" fmla="*/ 191 w 191"/>
                <a:gd name="T17" fmla="*/ 132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207">
                  <a:moveTo>
                    <a:pt x="191" y="132"/>
                  </a:moveTo>
                  <a:cubicBezTo>
                    <a:pt x="166" y="105"/>
                    <a:pt x="151" y="69"/>
                    <a:pt x="151" y="29"/>
                  </a:cubicBezTo>
                  <a:cubicBezTo>
                    <a:pt x="151" y="20"/>
                    <a:pt x="152" y="12"/>
                    <a:pt x="153" y="3"/>
                  </a:cubicBezTo>
                  <a:cubicBezTo>
                    <a:pt x="138" y="1"/>
                    <a:pt x="122" y="0"/>
                    <a:pt x="105" y="0"/>
                  </a:cubicBezTo>
                  <a:cubicBezTo>
                    <a:pt x="83" y="0"/>
                    <a:pt x="63" y="2"/>
                    <a:pt x="44" y="6"/>
                  </a:cubicBezTo>
                  <a:cubicBezTo>
                    <a:pt x="45" y="13"/>
                    <a:pt x="46" y="21"/>
                    <a:pt x="46" y="29"/>
                  </a:cubicBezTo>
                  <a:cubicBezTo>
                    <a:pt x="46" y="71"/>
                    <a:pt x="28" y="108"/>
                    <a:pt x="0" y="134"/>
                  </a:cubicBezTo>
                  <a:cubicBezTo>
                    <a:pt x="44" y="148"/>
                    <a:pt x="78" y="173"/>
                    <a:pt x="98" y="207"/>
                  </a:cubicBezTo>
                  <a:cubicBezTo>
                    <a:pt x="117" y="173"/>
                    <a:pt x="149" y="147"/>
                    <a:pt x="191" y="13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Oval 223">
              <a:extLst>
                <a:ext uri="{FF2B5EF4-FFF2-40B4-BE49-F238E27FC236}">
                  <a16:creationId xmlns:a16="http://schemas.microsoft.com/office/drawing/2014/main" id="{8B3A9BAD-FF87-58FB-1F2E-7B449C0BDC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24926" y="6397625"/>
              <a:ext cx="158750" cy="1587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reeform 224">
              <a:extLst>
                <a:ext uri="{FF2B5EF4-FFF2-40B4-BE49-F238E27FC236}">
                  <a16:creationId xmlns:a16="http://schemas.microsoft.com/office/drawing/2014/main" id="{E06B2C84-AFCD-C855-8FEB-16C2136A0C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9363" y="6577013"/>
              <a:ext cx="269875" cy="127000"/>
            </a:xfrm>
            <a:custGeom>
              <a:avLst/>
              <a:gdLst>
                <a:gd name="T0" fmla="*/ 177 w 355"/>
                <a:gd name="T1" fmla="*/ 0 h 167"/>
                <a:gd name="T2" fmla="*/ 0 w 355"/>
                <a:gd name="T3" fmla="*/ 134 h 167"/>
                <a:gd name="T4" fmla="*/ 0 w 355"/>
                <a:gd name="T5" fmla="*/ 167 h 167"/>
                <a:gd name="T6" fmla="*/ 355 w 355"/>
                <a:gd name="T7" fmla="*/ 167 h 167"/>
                <a:gd name="T8" fmla="*/ 355 w 355"/>
                <a:gd name="T9" fmla="*/ 134 h 167"/>
                <a:gd name="T10" fmla="*/ 177 w 355"/>
                <a:gd name="T11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5" h="167">
                  <a:moveTo>
                    <a:pt x="177" y="0"/>
                  </a:moveTo>
                  <a:cubicBezTo>
                    <a:pt x="79" y="0"/>
                    <a:pt x="0" y="36"/>
                    <a:pt x="0" y="134"/>
                  </a:cubicBezTo>
                  <a:lnTo>
                    <a:pt x="0" y="167"/>
                  </a:lnTo>
                  <a:lnTo>
                    <a:pt x="355" y="167"/>
                  </a:lnTo>
                  <a:lnTo>
                    <a:pt x="355" y="134"/>
                  </a:lnTo>
                  <a:cubicBezTo>
                    <a:pt x="355" y="36"/>
                    <a:pt x="275" y="0"/>
                    <a:pt x="17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Oval 225">
              <a:extLst>
                <a:ext uri="{FF2B5EF4-FFF2-40B4-BE49-F238E27FC236}">
                  <a16:creationId xmlns:a16="http://schemas.microsoft.com/office/drawing/2014/main" id="{B684F2CA-0963-DAA7-8C75-6B2A25A43B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8538" y="6397625"/>
              <a:ext cx="158750" cy="1587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reeform 226">
              <a:extLst>
                <a:ext uri="{FF2B5EF4-FFF2-40B4-BE49-F238E27FC236}">
                  <a16:creationId xmlns:a16="http://schemas.microsoft.com/office/drawing/2014/main" id="{606BCDE4-92D9-CB83-F5BF-D6B017F6DE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976" y="6577013"/>
              <a:ext cx="269875" cy="127000"/>
            </a:xfrm>
            <a:custGeom>
              <a:avLst/>
              <a:gdLst>
                <a:gd name="T0" fmla="*/ 177 w 354"/>
                <a:gd name="T1" fmla="*/ 0 h 167"/>
                <a:gd name="T2" fmla="*/ 0 w 354"/>
                <a:gd name="T3" fmla="*/ 134 h 167"/>
                <a:gd name="T4" fmla="*/ 0 w 354"/>
                <a:gd name="T5" fmla="*/ 167 h 167"/>
                <a:gd name="T6" fmla="*/ 354 w 354"/>
                <a:gd name="T7" fmla="*/ 167 h 167"/>
                <a:gd name="T8" fmla="*/ 354 w 354"/>
                <a:gd name="T9" fmla="*/ 134 h 167"/>
                <a:gd name="T10" fmla="*/ 177 w 354"/>
                <a:gd name="T11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4" h="167">
                  <a:moveTo>
                    <a:pt x="177" y="0"/>
                  </a:moveTo>
                  <a:cubicBezTo>
                    <a:pt x="79" y="0"/>
                    <a:pt x="0" y="36"/>
                    <a:pt x="0" y="134"/>
                  </a:cubicBezTo>
                  <a:lnTo>
                    <a:pt x="0" y="167"/>
                  </a:lnTo>
                  <a:lnTo>
                    <a:pt x="354" y="167"/>
                  </a:lnTo>
                  <a:lnTo>
                    <a:pt x="354" y="134"/>
                  </a:lnTo>
                  <a:cubicBezTo>
                    <a:pt x="354" y="36"/>
                    <a:pt x="275" y="0"/>
                    <a:pt x="17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Oval 227">
              <a:extLst>
                <a:ext uri="{FF2B5EF4-FFF2-40B4-BE49-F238E27FC236}">
                  <a16:creationId xmlns:a16="http://schemas.microsoft.com/office/drawing/2014/main" id="{D6C1F3A8-C218-3CC1-573F-BFCD2357CD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8138" y="6397625"/>
              <a:ext cx="158750" cy="1587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reeform 228">
              <a:extLst>
                <a:ext uri="{FF2B5EF4-FFF2-40B4-BE49-F238E27FC236}">
                  <a16:creationId xmlns:a16="http://schemas.microsoft.com/office/drawing/2014/main" id="{EDC58AEB-8642-1BE8-892D-8856F73D2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2576" y="6577013"/>
              <a:ext cx="269875" cy="127000"/>
            </a:xfrm>
            <a:custGeom>
              <a:avLst/>
              <a:gdLst>
                <a:gd name="T0" fmla="*/ 177 w 355"/>
                <a:gd name="T1" fmla="*/ 0 h 167"/>
                <a:gd name="T2" fmla="*/ 0 w 355"/>
                <a:gd name="T3" fmla="*/ 134 h 167"/>
                <a:gd name="T4" fmla="*/ 0 w 355"/>
                <a:gd name="T5" fmla="*/ 167 h 167"/>
                <a:gd name="T6" fmla="*/ 355 w 355"/>
                <a:gd name="T7" fmla="*/ 167 h 167"/>
                <a:gd name="T8" fmla="*/ 355 w 355"/>
                <a:gd name="T9" fmla="*/ 134 h 167"/>
                <a:gd name="T10" fmla="*/ 177 w 355"/>
                <a:gd name="T11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5" h="167">
                  <a:moveTo>
                    <a:pt x="177" y="0"/>
                  </a:moveTo>
                  <a:cubicBezTo>
                    <a:pt x="80" y="0"/>
                    <a:pt x="0" y="36"/>
                    <a:pt x="0" y="134"/>
                  </a:cubicBezTo>
                  <a:lnTo>
                    <a:pt x="0" y="167"/>
                  </a:lnTo>
                  <a:lnTo>
                    <a:pt x="355" y="167"/>
                  </a:lnTo>
                  <a:lnTo>
                    <a:pt x="355" y="134"/>
                  </a:lnTo>
                  <a:cubicBezTo>
                    <a:pt x="355" y="36"/>
                    <a:pt x="275" y="0"/>
                    <a:pt x="17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Oval 229">
              <a:extLst>
                <a:ext uri="{FF2B5EF4-FFF2-40B4-BE49-F238E27FC236}">
                  <a16:creationId xmlns:a16="http://schemas.microsoft.com/office/drawing/2014/main" id="{DA11D1F7-E839-86C0-C483-2A8120DD1D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5701" y="6276975"/>
              <a:ext cx="158750" cy="15716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35849" name="Business_Peopl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3DAB0CD-5AEB-35A2-4075-F9F2116FE547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 rot="-452604">
            <a:off x="5535613" y="2403475"/>
            <a:ext cx="415925" cy="542925"/>
          </a:xfrm>
          <a:custGeom>
            <a:avLst/>
            <a:gdLst>
              <a:gd name="T0" fmla="*/ 0 w 2208433"/>
              <a:gd name="T1" fmla="*/ 0 h 2884488"/>
              <a:gd name="T2" fmla="*/ 0 w 2208433"/>
              <a:gd name="T3" fmla="*/ 0 h 2884488"/>
              <a:gd name="T4" fmla="*/ 0 w 2208433"/>
              <a:gd name="T5" fmla="*/ 0 h 2884488"/>
              <a:gd name="T6" fmla="*/ 0 w 2208433"/>
              <a:gd name="T7" fmla="*/ 0 h 2884488"/>
              <a:gd name="T8" fmla="*/ 0 w 2208433"/>
              <a:gd name="T9" fmla="*/ 0 h 2884488"/>
              <a:gd name="T10" fmla="*/ 0 w 2208433"/>
              <a:gd name="T11" fmla="*/ 0 h 2884488"/>
              <a:gd name="T12" fmla="*/ 0 w 2208433"/>
              <a:gd name="T13" fmla="*/ 0 h 2884488"/>
              <a:gd name="T14" fmla="*/ 0 w 2208433"/>
              <a:gd name="T15" fmla="*/ 0 h 2884488"/>
              <a:gd name="T16" fmla="*/ 0 w 2208433"/>
              <a:gd name="T17" fmla="*/ 0 h 2884488"/>
              <a:gd name="T18" fmla="*/ 0 w 2208433"/>
              <a:gd name="T19" fmla="*/ 0 h 2884488"/>
              <a:gd name="T20" fmla="*/ 0 w 2208433"/>
              <a:gd name="T21" fmla="*/ 0 h 2884488"/>
              <a:gd name="T22" fmla="*/ 0 w 2208433"/>
              <a:gd name="T23" fmla="*/ 0 h 2884488"/>
              <a:gd name="T24" fmla="*/ 0 w 2208433"/>
              <a:gd name="T25" fmla="*/ 0 h 2884488"/>
              <a:gd name="T26" fmla="*/ 0 w 2208433"/>
              <a:gd name="T27" fmla="*/ 0 h 2884488"/>
              <a:gd name="T28" fmla="*/ 0 w 2208433"/>
              <a:gd name="T29" fmla="*/ 0 h 2884488"/>
              <a:gd name="T30" fmla="*/ 0 w 2208433"/>
              <a:gd name="T31" fmla="*/ 0 h 2884488"/>
              <a:gd name="T32" fmla="*/ 0 w 2208433"/>
              <a:gd name="T33" fmla="*/ 0 h 2884488"/>
              <a:gd name="T34" fmla="*/ 0 w 2208433"/>
              <a:gd name="T35" fmla="*/ 0 h 2884488"/>
              <a:gd name="T36" fmla="*/ 0 w 2208433"/>
              <a:gd name="T37" fmla="*/ 0 h 2884488"/>
              <a:gd name="T38" fmla="*/ 0 w 2208433"/>
              <a:gd name="T39" fmla="*/ 0 h 2884488"/>
              <a:gd name="T40" fmla="*/ 0 w 2208433"/>
              <a:gd name="T41" fmla="*/ 0 h 2884488"/>
              <a:gd name="T42" fmla="*/ 0 w 2208433"/>
              <a:gd name="T43" fmla="*/ 0 h 2884488"/>
              <a:gd name="T44" fmla="*/ 0 w 2208433"/>
              <a:gd name="T45" fmla="*/ 0 h 2884488"/>
              <a:gd name="T46" fmla="*/ 0 w 2208433"/>
              <a:gd name="T47" fmla="*/ 0 h 2884488"/>
              <a:gd name="T48" fmla="*/ 0 w 2208433"/>
              <a:gd name="T49" fmla="*/ 0 h 2884488"/>
              <a:gd name="T50" fmla="*/ 0 w 2208433"/>
              <a:gd name="T51" fmla="*/ 0 h 2884488"/>
              <a:gd name="T52" fmla="*/ 0 w 2208433"/>
              <a:gd name="T53" fmla="*/ 0 h 2884488"/>
              <a:gd name="T54" fmla="*/ 0 w 2208433"/>
              <a:gd name="T55" fmla="*/ 0 h 2884488"/>
              <a:gd name="T56" fmla="*/ 0 w 2208433"/>
              <a:gd name="T57" fmla="*/ 0 h 2884488"/>
              <a:gd name="T58" fmla="*/ 0 w 2208433"/>
              <a:gd name="T59" fmla="*/ 0 h 2884488"/>
              <a:gd name="T60" fmla="*/ 0 w 2208433"/>
              <a:gd name="T61" fmla="*/ 0 h 2884488"/>
              <a:gd name="T62" fmla="*/ 0 w 2208433"/>
              <a:gd name="T63" fmla="*/ 0 h 2884488"/>
              <a:gd name="T64" fmla="*/ 0 w 2208433"/>
              <a:gd name="T65" fmla="*/ 0 h 2884488"/>
              <a:gd name="T66" fmla="*/ 0 w 2208433"/>
              <a:gd name="T67" fmla="*/ 0 h 2884488"/>
              <a:gd name="T68" fmla="*/ 0 w 2208433"/>
              <a:gd name="T69" fmla="*/ 0 h 2884488"/>
              <a:gd name="T70" fmla="*/ 0 w 2208433"/>
              <a:gd name="T71" fmla="*/ 0 h 2884488"/>
              <a:gd name="T72" fmla="*/ 0 w 2208433"/>
              <a:gd name="T73" fmla="*/ 0 h 2884488"/>
              <a:gd name="T74" fmla="*/ 0 w 2208433"/>
              <a:gd name="T75" fmla="*/ 0 h 2884488"/>
              <a:gd name="T76" fmla="*/ 0 w 2208433"/>
              <a:gd name="T77" fmla="*/ 0 h 2884488"/>
              <a:gd name="T78" fmla="*/ 0 w 2208433"/>
              <a:gd name="T79" fmla="*/ 0 h 2884488"/>
              <a:gd name="T80" fmla="*/ 0 w 2208433"/>
              <a:gd name="T81" fmla="*/ 0 h 2884488"/>
              <a:gd name="T82" fmla="*/ 0 w 2208433"/>
              <a:gd name="T83" fmla="*/ 0 h 2884488"/>
              <a:gd name="T84" fmla="*/ 0 w 2208433"/>
              <a:gd name="T85" fmla="*/ 0 h 2884488"/>
              <a:gd name="T86" fmla="*/ 0 w 2208433"/>
              <a:gd name="T87" fmla="*/ 0 h 2884488"/>
              <a:gd name="T88" fmla="*/ 0 w 2208433"/>
              <a:gd name="T89" fmla="*/ 0 h 2884488"/>
              <a:gd name="T90" fmla="*/ 0 w 2208433"/>
              <a:gd name="T91" fmla="*/ 0 h 2884488"/>
              <a:gd name="T92" fmla="*/ 0 w 2208433"/>
              <a:gd name="T93" fmla="*/ 0 h 2884488"/>
              <a:gd name="T94" fmla="*/ 0 w 2208433"/>
              <a:gd name="T95" fmla="*/ 0 h 2884488"/>
              <a:gd name="T96" fmla="*/ 0 w 2208433"/>
              <a:gd name="T97" fmla="*/ 0 h 2884488"/>
              <a:gd name="T98" fmla="*/ 0 w 2208433"/>
              <a:gd name="T99" fmla="*/ 0 h 2884488"/>
              <a:gd name="T100" fmla="*/ 0 w 2208433"/>
              <a:gd name="T101" fmla="*/ 0 h 2884488"/>
              <a:gd name="T102" fmla="*/ 0 w 2208433"/>
              <a:gd name="T103" fmla="*/ 0 h 288448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2208433" h="2884488">
                <a:moveTo>
                  <a:pt x="865613" y="1682726"/>
                </a:moveTo>
                <a:lnTo>
                  <a:pt x="866321" y="1704565"/>
                </a:lnTo>
                <a:cubicBezTo>
                  <a:pt x="866321" y="1716403"/>
                  <a:pt x="788801" y="1952573"/>
                  <a:pt x="789393" y="1963819"/>
                </a:cubicBezTo>
                <a:cubicBezTo>
                  <a:pt x="814247" y="1968555"/>
                  <a:pt x="847385" y="1978025"/>
                  <a:pt x="876381" y="1971514"/>
                </a:cubicBezTo>
                <a:lnTo>
                  <a:pt x="926215" y="1963293"/>
                </a:lnTo>
                <a:lnTo>
                  <a:pt x="919070" y="1737369"/>
                </a:lnTo>
                <a:lnTo>
                  <a:pt x="905769" y="1736436"/>
                </a:lnTo>
                <a:cubicBezTo>
                  <a:pt x="898083" y="1737026"/>
                  <a:pt x="893354" y="1735845"/>
                  <a:pt x="892172" y="1728167"/>
                </a:cubicBezTo>
                <a:lnTo>
                  <a:pt x="880348" y="1696274"/>
                </a:lnTo>
                <a:cubicBezTo>
                  <a:pt x="877983" y="1686824"/>
                  <a:pt x="876209" y="1686233"/>
                  <a:pt x="867342" y="1683280"/>
                </a:cubicBezTo>
                <a:lnTo>
                  <a:pt x="865613" y="1682726"/>
                </a:lnTo>
                <a:close/>
                <a:moveTo>
                  <a:pt x="1058756" y="1643194"/>
                </a:moveTo>
                <a:lnTo>
                  <a:pt x="1059247" y="1654350"/>
                </a:lnTo>
                <a:lnTo>
                  <a:pt x="1061428" y="1661003"/>
                </a:lnTo>
                <a:cubicBezTo>
                  <a:pt x="1062195" y="1667002"/>
                  <a:pt x="1062398" y="1674347"/>
                  <a:pt x="1062361" y="1682247"/>
                </a:cubicBezTo>
                <a:lnTo>
                  <a:pt x="1061988" y="1716610"/>
                </a:lnTo>
                <a:lnTo>
                  <a:pt x="1071681" y="1936797"/>
                </a:lnTo>
                <a:lnTo>
                  <a:pt x="1074500" y="1936157"/>
                </a:lnTo>
                <a:cubicBezTo>
                  <a:pt x="1089746" y="1931339"/>
                  <a:pt x="1104651" y="1924902"/>
                  <a:pt x="1119001" y="1915875"/>
                </a:cubicBezTo>
                <a:lnTo>
                  <a:pt x="1106008" y="1829854"/>
                </a:lnTo>
                <a:lnTo>
                  <a:pt x="1160857" y="1837531"/>
                </a:lnTo>
                <a:cubicBezTo>
                  <a:pt x="1211094" y="1856377"/>
                  <a:pt x="1179179" y="1821631"/>
                  <a:pt x="1207548" y="1812208"/>
                </a:cubicBezTo>
                <a:cubicBezTo>
                  <a:pt x="1241237" y="1801019"/>
                  <a:pt x="1300930" y="1799841"/>
                  <a:pt x="1345848" y="1859910"/>
                </a:cubicBezTo>
                <a:cubicBezTo>
                  <a:pt x="1365352" y="1885233"/>
                  <a:pt x="1441004" y="1864032"/>
                  <a:pt x="1479421" y="1882289"/>
                </a:cubicBezTo>
                <a:lnTo>
                  <a:pt x="1547389" y="1892300"/>
                </a:lnTo>
                <a:lnTo>
                  <a:pt x="1706375" y="1823398"/>
                </a:lnTo>
                <a:lnTo>
                  <a:pt x="1200196" y="1766926"/>
                </a:lnTo>
                <a:lnTo>
                  <a:pt x="1203138" y="1774826"/>
                </a:lnTo>
                <a:cubicBezTo>
                  <a:pt x="1188358" y="1774826"/>
                  <a:pt x="1175352" y="1770101"/>
                  <a:pt x="1153478" y="1768920"/>
                </a:cubicBezTo>
                <a:lnTo>
                  <a:pt x="1150427" y="1761374"/>
                </a:lnTo>
                <a:lnTo>
                  <a:pt x="1094725" y="1755159"/>
                </a:lnTo>
                <a:lnTo>
                  <a:pt x="1080538" y="1661239"/>
                </a:lnTo>
                <a:lnTo>
                  <a:pt x="1062435" y="1646071"/>
                </a:lnTo>
                <a:lnTo>
                  <a:pt x="1058756" y="1643194"/>
                </a:lnTo>
                <a:close/>
                <a:moveTo>
                  <a:pt x="1516881" y="1057046"/>
                </a:moveTo>
                <a:lnTo>
                  <a:pt x="1481659" y="1080602"/>
                </a:lnTo>
                <a:lnTo>
                  <a:pt x="1481773" y="1089589"/>
                </a:lnTo>
                <a:lnTo>
                  <a:pt x="1480754" y="1080499"/>
                </a:lnTo>
                <a:lnTo>
                  <a:pt x="1516881" y="1057046"/>
                </a:lnTo>
                <a:close/>
                <a:moveTo>
                  <a:pt x="860404" y="495300"/>
                </a:moveTo>
                <a:lnTo>
                  <a:pt x="836142" y="529631"/>
                </a:lnTo>
                <a:lnTo>
                  <a:pt x="816614" y="529039"/>
                </a:lnTo>
                <a:cubicBezTo>
                  <a:pt x="841024" y="728808"/>
                  <a:pt x="846461" y="1036118"/>
                  <a:pt x="855392" y="1367817"/>
                </a:cubicBezTo>
                <a:lnTo>
                  <a:pt x="860030" y="1510704"/>
                </a:lnTo>
                <a:lnTo>
                  <a:pt x="871480" y="1500188"/>
                </a:lnTo>
                <a:cubicBezTo>
                  <a:pt x="888181" y="1504322"/>
                  <a:pt x="897456" y="1507312"/>
                  <a:pt x="904596" y="1509850"/>
                </a:cubicBezTo>
                <a:lnTo>
                  <a:pt x="911955" y="1512368"/>
                </a:lnTo>
                <a:lnTo>
                  <a:pt x="911627" y="1502004"/>
                </a:lnTo>
                <a:lnTo>
                  <a:pt x="917573" y="943459"/>
                </a:lnTo>
                <a:cubicBezTo>
                  <a:pt x="924708" y="877191"/>
                  <a:pt x="938384" y="825714"/>
                  <a:pt x="906275" y="807964"/>
                </a:cubicBezTo>
                <a:cubicBezTo>
                  <a:pt x="924708" y="796722"/>
                  <a:pt x="945520" y="781930"/>
                  <a:pt x="967520" y="763588"/>
                </a:cubicBezTo>
                <a:cubicBezTo>
                  <a:pt x="978818" y="774238"/>
                  <a:pt x="993683" y="776605"/>
                  <a:pt x="1027576" y="764771"/>
                </a:cubicBezTo>
                <a:lnTo>
                  <a:pt x="1055523" y="785480"/>
                </a:lnTo>
                <a:cubicBezTo>
                  <a:pt x="1032333" y="795539"/>
                  <a:pt x="1016873" y="824531"/>
                  <a:pt x="1000818" y="852340"/>
                </a:cubicBezTo>
                <a:cubicBezTo>
                  <a:pt x="1004386" y="864174"/>
                  <a:pt x="1004386" y="890208"/>
                  <a:pt x="1013900" y="915058"/>
                </a:cubicBezTo>
                <a:cubicBezTo>
                  <a:pt x="1024008" y="942867"/>
                  <a:pt x="1025792" y="981326"/>
                  <a:pt x="1034117" y="1019785"/>
                </a:cubicBezTo>
                <a:lnTo>
                  <a:pt x="1053739" y="1529222"/>
                </a:lnTo>
                <a:lnTo>
                  <a:pt x="1054178" y="1539189"/>
                </a:lnTo>
                <a:lnTo>
                  <a:pt x="1063559" y="1548835"/>
                </a:lnTo>
                <a:lnTo>
                  <a:pt x="1061601" y="1535871"/>
                </a:lnTo>
                <a:lnTo>
                  <a:pt x="1101249" y="1133967"/>
                </a:lnTo>
                <a:lnTo>
                  <a:pt x="1106574" y="762842"/>
                </a:lnTo>
                <a:lnTo>
                  <a:pt x="1107758" y="723776"/>
                </a:lnTo>
                <a:cubicBezTo>
                  <a:pt x="1094147" y="723184"/>
                  <a:pt x="1083496" y="722000"/>
                  <a:pt x="1057459" y="723184"/>
                </a:cubicBezTo>
                <a:lnTo>
                  <a:pt x="1036747" y="735022"/>
                </a:lnTo>
                <a:cubicBezTo>
                  <a:pt x="1029054" y="739757"/>
                  <a:pt x="1018994" y="742717"/>
                  <a:pt x="996508" y="736206"/>
                </a:cubicBezTo>
                <a:cubicBezTo>
                  <a:pt x="958635" y="671688"/>
                  <a:pt x="911887" y="610722"/>
                  <a:pt x="865138" y="549164"/>
                </a:cubicBezTo>
                <a:cubicBezTo>
                  <a:pt x="858037" y="534958"/>
                  <a:pt x="856853" y="517793"/>
                  <a:pt x="862771" y="495892"/>
                </a:cubicBezTo>
                <a:lnTo>
                  <a:pt x="860404" y="495300"/>
                </a:lnTo>
                <a:close/>
                <a:moveTo>
                  <a:pt x="1211378" y="0"/>
                </a:moveTo>
                <a:cubicBezTo>
                  <a:pt x="1301170" y="5921"/>
                  <a:pt x="1420499" y="103017"/>
                  <a:pt x="1411638" y="238006"/>
                </a:cubicBezTo>
                <a:cubicBezTo>
                  <a:pt x="1399823" y="279450"/>
                  <a:pt x="1395097" y="320301"/>
                  <a:pt x="1366742" y="364706"/>
                </a:cubicBezTo>
                <a:lnTo>
                  <a:pt x="1324209" y="457658"/>
                </a:lnTo>
                <a:cubicBezTo>
                  <a:pt x="1325981" y="473051"/>
                  <a:pt x="1326572" y="480156"/>
                  <a:pt x="1325981" y="481932"/>
                </a:cubicBezTo>
                <a:lnTo>
                  <a:pt x="1297626" y="509759"/>
                </a:lnTo>
                <a:cubicBezTo>
                  <a:pt x="1293491" y="575477"/>
                  <a:pt x="1288174" y="569556"/>
                  <a:pt x="1258637" y="594423"/>
                </a:cubicBezTo>
                <a:cubicBezTo>
                  <a:pt x="1209015" y="635866"/>
                  <a:pt x="1170617" y="671390"/>
                  <a:pt x="1137536" y="721714"/>
                </a:cubicBezTo>
                <a:lnTo>
                  <a:pt x="1131629" y="724674"/>
                </a:lnTo>
                <a:lnTo>
                  <a:pt x="1131629" y="728227"/>
                </a:lnTo>
                <a:cubicBezTo>
                  <a:pt x="1222012" y="792169"/>
                  <a:pt x="1299398" y="861439"/>
                  <a:pt x="1377375" y="930709"/>
                </a:cubicBezTo>
                <a:lnTo>
                  <a:pt x="1348429" y="1343371"/>
                </a:lnTo>
                <a:lnTo>
                  <a:pt x="1450627" y="1183517"/>
                </a:lnTo>
                <a:cubicBezTo>
                  <a:pt x="1455353" y="1153914"/>
                  <a:pt x="1469530" y="1147401"/>
                  <a:pt x="1481345" y="1134968"/>
                </a:cubicBezTo>
                <a:lnTo>
                  <a:pt x="1482280" y="1123842"/>
                </a:lnTo>
                <a:lnTo>
                  <a:pt x="1483207" y="1143551"/>
                </a:lnTo>
                <a:cubicBezTo>
                  <a:pt x="1484165" y="1153771"/>
                  <a:pt x="1485787" y="1157622"/>
                  <a:pt x="1488736" y="1168287"/>
                </a:cubicBezTo>
                <a:cubicBezTo>
                  <a:pt x="1506428" y="1151698"/>
                  <a:pt x="1521762" y="1143403"/>
                  <a:pt x="1540044" y="1137479"/>
                </a:cubicBezTo>
                <a:cubicBezTo>
                  <a:pt x="1553608" y="1151105"/>
                  <a:pt x="1561275" y="1165324"/>
                  <a:pt x="1564813" y="1178951"/>
                </a:cubicBezTo>
                <a:cubicBezTo>
                  <a:pt x="1442735" y="1253009"/>
                  <a:pt x="1453351" y="1318773"/>
                  <a:pt x="1325375" y="1455632"/>
                </a:cubicBezTo>
                <a:cubicBezTo>
                  <a:pt x="1373145" y="1649960"/>
                  <a:pt x="1403222" y="1628631"/>
                  <a:pt x="1440966" y="1763713"/>
                </a:cubicBezTo>
                <a:cubicBezTo>
                  <a:pt x="1536505" y="1469258"/>
                  <a:pt x="1512326" y="1486440"/>
                  <a:pt x="1830200" y="1031427"/>
                </a:cubicBezTo>
                <a:cubicBezTo>
                  <a:pt x="1817816" y="1029650"/>
                  <a:pt x="1810149" y="1030243"/>
                  <a:pt x="1788918" y="1023725"/>
                </a:cubicBezTo>
                <a:lnTo>
                  <a:pt x="1697507" y="1104301"/>
                </a:lnTo>
                <a:lnTo>
                  <a:pt x="1672737" y="1185468"/>
                </a:lnTo>
                <a:cubicBezTo>
                  <a:pt x="1658583" y="1182506"/>
                  <a:pt x="1652686" y="1188430"/>
                  <a:pt x="1646199" y="1190208"/>
                </a:cubicBezTo>
                <a:lnTo>
                  <a:pt x="1645609" y="1212722"/>
                </a:lnTo>
                <a:cubicBezTo>
                  <a:pt x="1646788" y="1215684"/>
                  <a:pt x="1645609" y="1218646"/>
                  <a:pt x="1645019" y="1221016"/>
                </a:cubicBezTo>
                <a:lnTo>
                  <a:pt x="1591352" y="1297444"/>
                </a:lnTo>
                <a:lnTo>
                  <a:pt x="1610814" y="1217461"/>
                </a:lnTo>
                <a:lnTo>
                  <a:pt x="1614352" y="1057496"/>
                </a:lnTo>
                <a:cubicBezTo>
                  <a:pt x="1613173" y="1055126"/>
                  <a:pt x="1604326" y="1042092"/>
                  <a:pt x="1590172" y="1020763"/>
                </a:cubicBezTo>
                <a:lnTo>
                  <a:pt x="1534598" y="1045544"/>
                </a:lnTo>
                <a:lnTo>
                  <a:pt x="1537982" y="1043348"/>
                </a:lnTo>
                <a:cubicBezTo>
                  <a:pt x="1556369" y="1033135"/>
                  <a:pt x="1574091" y="1024846"/>
                  <a:pt x="1591222" y="1017741"/>
                </a:cubicBezTo>
                <a:lnTo>
                  <a:pt x="1591813" y="996427"/>
                </a:lnTo>
                <a:cubicBezTo>
                  <a:pt x="1554596" y="935446"/>
                  <a:pt x="1526832" y="876240"/>
                  <a:pt x="1533330" y="820587"/>
                </a:cubicBezTo>
                <a:cubicBezTo>
                  <a:pt x="1535102" y="799273"/>
                  <a:pt x="1544554" y="756645"/>
                  <a:pt x="1526241" y="732371"/>
                </a:cubicBezTo>
                <a:lnTo>
                  <a:pt x="1524469" y="716978"/>
                </a:lnTo>
                <a:cubicBezTo>
                  <a:pt x="1503793" y="574885"/>
                  <a:pt x="1543963" y="458842"/>
                  <a:pt x="1762536" y="412662"/>
                </a:cubicBezTo>
                <a:cubicBezTo>
                  <a:pt x="2040773" y="442265"/>
                  <a:pt x="2028958" y="548834"/>
                  <a:pt x="2034865" y="657180"/>
                </a:cubicBezTo>
                <a:cubicBezTo>
                  <a:pt x="2046680" y="678494"/>
                  <a:pt x="2058495" y="698624"/>
                  <a:pt x="2067947" y="722306"/>
                </a:cubicBezTo>
                <a:lnTo>
                  <a:pt x="2072673" y="772631"/>
                </a:lnTo>
                <a:lnTo>
                  <a:pt x="2057313" y="722306"/>
                </a:lnTo>
                <a:lnTo>
                  <a:pt x="2053178" y="768486"/>
                </a:lnTo>
                <a:cubicBezTo>
                  <a:pt x="2072673" y="845454"/>
                  <a:pt x="2072082" y="920052"/>
                  <a:pt x="2031912" y="989323"/>
                </a:cubicBezTo>
                <a:lnTo>
                  <a:pt x="2018325" y="1002348"/>
                </a:lnTo>
                <a:lnTo>
                  <a:pt x="2021278" y="1042016"/>
                </a:lnTo>
                <a:cubicBezTo>
                  <a:pt x="2066765" y="1062145"/>
                  <a:pt x="2081534" y="1062145"/>
                  <a:pt x="2098074" y="1080499"/>
                </a:cubicBezTo>
                <a:cubicBezTo>
                  <a:pt x="2127020" y="1112470"/>
                  <a:pt x="2173688" y="1126679"/>
                  <a:pt x="2202044" y="1191805"/>
                </a:cubicBezTo>
                <a:cubicBezTo>
                  <a:pt x="2223901" y="1260484"/>
                  <a:pt x="2180777" y="1378302"/>
                  <a:pt x="2203816" y="1435140"/>
                </a:cubicBezTo>
                <a:cubicBezTo>
                  <a:pt x="2170144" y="1582561"/>
                  <a:pt x="2201453" y="1573088"/>
                  <a:pt x="2194955" y="1661896"/>
                </a:cubicBezTo>
                <a:cubicBezTo>
                  <a:pt x="2180777" y="1712813"/>
                  <a:pt x="2173688" y="1720510"/>
                  <a:pt x="2178414" y="1764914"/>
                </a:cubicBezTo>
                <a:cubicBezTo>
                  <a:pt x="2163646" y="1864971"/>
                  <a:pt x="2193774" y="1850170"/>
                  <a:pt x="2196727" y="1927729"/>
                </a:cubicBezTo>
                <a:cubicBezTo>
                  <a:pt x="2198499" y="1942530"/>
                  <a:pt x="2197318" y="1951411"/>
                  <a:pt x="2190229" y="1962660"/>
                </a:cubicBezTo>
                <a:cubicBezTo>
                  <a:pt x="2143561" y="2036667"/>
                  <a:pt x="2129974" y="2039627"/>
                  <a:pt x="2113433" y="2049692"/>
                </a:cubicBezTo>
                <a:cubicBezTo>
                  <a:pt x="2105163" y="2056796"/>
                  <a:pt x="2099256" y="2056204"/>
                  <a:pt x="2089804" y="2055612"/>
                </a:cubicBezTo>
                <a:cubicBezTo>
                  <a:pt x="1987016" y="2043771"/>
                  <a:pt x="1960433" y="2044955"/>
                  <a:pt x="1926170" y="2044363"/>
                </a:cubicBezTo>
                <a:lnTo>
                  <a:pt x="1962796" y="2303091"/>
                </a:lnTo>
                <a:lnTo>
                  <a:pt x="1934440" y="2454657"/>
                </a:lnTo>
                <a:lnTo>
                  <a:pt x="1917900" y="2684374"/>
                </a:lnTo>
                <a:lnTo>
                  <a:pt x="1865324" y="2883896"/>
                </a:lnTo>
                <a:lnTo>
                  <a:pt x="1167073" y="2883896"/>
                </a:lnTo>
                <a:cubicBezTo>
                  <a:pt x="1165892" y="2801601"/>
                  <a:pt x="1217876" y="2466498"/>
                  <a:pt x="1240915" y="2271712"/>
                </a:cubicBezTo>
                <a:cubicBezTo>
                  <a:pt x="1242097" y="2260463"/>
                  <a:pt x="1217286" y="2265199"/>
                  <a:pt x="1218467" y="2255135"/>
                </a:cubicBezTo>
                <a:cubicBezTo>
                  <a:pt x="1224374" y="2200666"/>
                  <a:pt x="1239143" y="2221979"/>
                  <a:pt x="1246822" y="2143236"/>
                </a:cubicBezTo>
                <a:cubicBezTo>
                  <a:pt x="1248004" y="2131395"/>
                  <a:pt x="1209015" y="2157446"/>
                  <a:pt x="1207243" y="2156854"/>
                </a:cubicBezTo>
                <a:cubicBezTo>
                  <a:pt x="1196019" y="2149157"/>
                  <a:pt x="1192475" y="2127251"/>
                  <a:pt x="1190702" y="2107121"/>
                </a:cubicBezTo>
                <a:cubicBezTo>
                  <a:pt x="1190112" y="2100016"/>
                  <a:pt x="1174753" y="2101792"/>
                  <a:pt x="1175343" y="2107121"/>
                </a:cubicBezTo>
                <a:cubicBezTo>
                  <a:pt x="1185977" y="2170471"/>
                  <a:pt x="1184204" y="2415581"/>
                  <a:pt x="1164119" y="2600894"/>
                </a:cubicBezTo>
                <a:cubicBezTo>
                  <a:pt x="1162938" y="2621024"/>
                  <a:pt x="1141081" y="2619840"/>
                  <a:pt x="1140490" y="2639378"/>
                </a:cubicBezTo>
                <a:cubicBezTo>
                  <a:pt x="1136945" y="2756012"/>
                  <a:pt x="1120996" y="2797456"/>
                  <a:pt x="1108590" y="2884488"/>
                </a:cubicBezTo>
                <a:lnTo>
                  <a:pt x="220122" y="2882712"/>
                </a:lnTo>
                <a:cubicBezTo>
                  <a:pt x="231346" y="2775550"/>
                  <a:pt x="246705" y="2654179"/>
                  <a:pt x="260292" y="2571884"/>
                </a:cubicBezTo>
                <a:cubicBezTo>
                  <a:pt x="185859" y="2547609"/>
                  <a:pt x="142145" y="2469458"/>
                  <a:pt x="83662" y="2416765"/>
                </a:cubicBezTo>
                <a:cubicBezTo>
                  <a:pt x="191176" y="1980421"/>
                  <a:pt x="200037" y="1868523"/>
                  <a:pt x="331180" y="1677882"/>
                </a:cubicBezTo>
                <a:lnTo>
                  <a:pt x="317003" y="1655976"/>
                </a:lnTo>
                <a:cubicBezTo>
                  <a:pt x="-3177" y="1612164"/>
                  <a:pt x="21044" y="1489016"/>
                  <a:pt x="959" y="1463558"/>
                </a:cubicBezTo>
                <a:cubicBezTo>
                  <a:pt x="-4949" y="1395472"/>
                  <a:pt x="17499" y="1364093"/>
                  <a:pt x="39947" y="1331530"/>
                </a:cubicBezTo>
                <a:cubicBezTo>
                  <a:pt x="119697" y="1081091"/>
                  <a:pt x="249068" y="863215"/>
                  <a:pt x="386710" y="654220"/>
                </a:cubicBezTo>
                <a:cubicBezTo>
                  <a:pt x="419200" y="618697"/>
                  <a:pt x="589923" y="608040"/>
                  <a:pt x="720476" y="592646"/>
                </a:cubicBezTo>
                <a:cubicBezTo>
                  <a:pt x="757692" y="574885"/>
                  <a:pt x="785457" y="550611"/>
                  <a:pt x="809677" y="525152"/>
                </a:cubicBezTo>
                <a:lnTo>
                  <a:pt x="835670" y="526336"/>
                </a:lnTo>
                <a:lnTo>
                  <a:pt x="860481" y="491997"/>
                </a:lnTo>
                <a:cubicBezTo>
                  <a:pt x="871705" y="487853"/>
                  <a:pt x="883519" y="486077"/>
                  <a:pt x="895334" y="487261"/>
                </a:cubicBezTo>
                <a:cubicBezTo>
                  <a:pt x="903014" y="448777"/>
                  <a:pt x="901241" y="441081"/>
                  <a:pt x="901832" y="424503"/>
                </a:cubicBezTo>
                <a:cubicBezTo>
                  <a:pt x="867569" y="369442"/>
                  <a:pt x="878203" y="309644"/>
                  <a:pt x="905967" y="257544"/>
                </a:cubicBezTo>
                <a:cubicBezTo>
                  <a:pt x="937867" y="97689"/>
                  <a:pt x="973311" y="15986"/>
                  <a:pt x="121137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35850" name="Presentation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3B55E8A-BC53-58E8-F6C4-85307E4EEF4C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6545263" y="2482850"/>
            <a:ext cx="581025" cy="542925"/>
          </a:xfrm>
          <a:custGeom>
            <a:avLst/>
            <a:gdLst>
              <a:gd name="T0" fmla="*/ 2147483646 w 11924"/>
              <a:gd name="T1" fmla="*/ 2147483646 h 11127"/>
              <a:gd name="T2" fmla="*/ 2147483646 w 11924"/>
              <a:gd name="T3" fmla="*/ 2147483646 h 11127"/>
              <a:gd name="T4" fmla="*/ 2147483646 w 11924"/>
              <a:gd name="T5" fmla="*/ 2147483646 h 11127"/>
              <a:gd name="T6" fmla="*/ 2147483646 w 11924"/>
              <a:gd name="T7" fmla="*/ 2147483646 h 11127"/>
              <a:gd name="T8" fmla="*/ 2147483646 w 11924"/>
              <a:gd name="T9" fmla="*/ 2147483646 h 11127"/>
              <a:gd name="T10" fmla="*/ 2147483646 w 11924"/>
              <a:gd name="T11" fmla="*/ 2147483646 h 11127"/>
              <a:gd name="T12" fmla="*/ 2147483646 w 11924"/>
              <a:gd name="T13" fmla="*/ 2147483646 h 11127"/>
              <a:gd name="T14" fmla="*/ 2147483646 w 11924"/>
              <a:gd name="T15" fmla="*/ 2147483646 h 11127"/>
              <a:gd name="T16" fmla="*/ 2147483646 w 11924"/>
              <a:gd name="T17" fmla="*/ 2147483646 h 11127"/>
              <a:gd name="T18" fmla="*/ 2147483646 w 11924"/>
              <a:gd name="T19" fmla="*/ 2147483646 h 11127"/>
              <a:gd name="T20" fmla="*/ 2147483646 w 11924"/>
              <a:gd name="T21" fmla="*/ 2147483646 h 11127"/>
              <a:gd name="T22" fmla="*/ 2147483646 w 11924"/>
              <a:gd name="T23" fmla="*/ 2147483646 h 11127"/>
              <a:gd name="T24" fmla="*/ 2147483646 w 11924"/>
              <a:gd name="T25" fmla="*/ 2147483646 h 11127"/>
              <a:gd name="T26" fmla="*/ 2147483646 w 11924"/>
              <a:gd name="T27" fmla="*/ 2147483646 h 11127"/>
              <a:gd name="T28" fmla="*/ 2147483646 w 11924"/>
              <a:gd name="T29" fmla="*/ 2147483646 h 11127"/>
              <a:gd name="T30" fmla="*/ 2147483646 w 11924"/>
              <a:gd name="T31" fmla="*/ 2147483646 h 11127"/>
              <a:gd name="T32" fmla="*/ 2147483646 w 11924"/>
              <a:gd name="T33" fmla="*/ 0 h 11127"/>
              <a:gd name="T34" fmla="*/ 2147483646 w 11924"/>
              <a:gd name="T35" fmla="*/ 2147483646 h 11127"/>
              <a:gd name="T36" fmla="*/ 2147483646 w 11924"/>
              <a:gd name="T37" fmla="*/ 2147483646 h 11127"/>
              <a:gd name="T38" fmla="*/ 2147483646 w 11924"/>
              <a:gd name="T39" fmla="*/ 2147483646 h 11127"/>
              <a:gd name="T40" fmla="*/ 2147483646 w 11924"/>
              <a:gd name="T41" fmla="*/ 2147483646 h 11127"/>
              <a:gd name="T42" fmla="*/ 2147483646 w 11924"/>
              <a:gd name="T43" fmla="*/ 2147483646 h 11127"/>
              <a:gd name="T44" fmla="*/ 2147483646 w 11924"/>
              <a:gd name="T45" fmla="*/ 2147483646 h 11127"/>
              <a:gd name="T46" fmla="*/ 2147483646 w 11924"/>
              <a:gd name="T47" fmla="*/ 2147483646 h 11127"/>
              <a:gd name="T48" fmla="*/ 2147483646 w 11924"/>
              <a:gd name="T49" fmla="*/ 2147483646 h 11127"/>
              <a:gd name="T50" fmla="*/ 2147483646 w 11924"/>
              <a:gd name="T51" fmla="*/ 2147483646 h 11127"/>
              <a:gd name="T52" fmla="*/ 2147483646 w 11924"/>
              <a:gd name="T53" fmla="*/ 2147483646 h 11127"/>
              <a:gd name="T54" fmla="*/ 2147483646 w 11924"/>
              <a:gd name="T55" fmla="*/ 2147483646 h 11127"/>
              <a:gd name="T56" fmla="*/ 2147483646 w 11924"/>
              <a:gd name="T57" fmla="*/ 2147483646 h 11127"/>
              <a:gd name="T58" fmla="*/ 2147483646 w 11924"/>
              <a:gd name="T59" fmla="*/ 2147483646 h 11127"/>
              <a:gd name="T60" fmla="*/ 2147483646 w 11924"/>
              <a:gd name="T61" fmla="*/ 2147483646 h 11127"/>
              <a:gd name="T62" fmla="*/ 2147483646 w 11924"/>
              <a:gd name="T63" fmla="*/ 2147483646 h 11127"/>
              <a:gd name="T64" fmla="*/ 2147483646 w 11924"/>
              <a:gd name="T65" fmla="*/ 2147483646 h 11127"/>
              <a:gd name="T66" fmla="*/ 2147483646 w 11924"/>
              <a:gd name="T67" fmla="*/ 2147483646 h 11127"/>
              <a:gd name="T68" fmla="*/ 2147483646 w 11924"/>
              <a:gd name="T69" fmla="*/ 2147483646 h 11127"/>
              <a:gd name="T70" fmla="*/ 2147483646 w 11924"/>
              <a:gd name="T71" fmla="*/ 2147483646 h 11127"/>
              <a:gd name="T72" fmla="*/ 2147483646 w 11924"/>
              <a:gd name="T73" fmla="*/ 2147483646 h 11127"/>
              <a:gd name="T74" fmla="*/ 2147483646 w 11924"/>
              <a:gd name="T75" fmla="*/ 2147483646 h 11127"/>
              <a:gd name="T76" fmla="*/ 2147483646 w 11924"/>
              <a:gd name="T77" fmla="*/ 2147483646 h 11127"/>
              <a:gd name="T78" fmla="*/ 2147483646 w 11924"/>
              <a:gd name="T79" fmla="*/ 2147483646 h 11127"/>
              <a:gd name="T80" fmla="*/ 2147483646 w 11924"/>
              <a:gd name="T81" fmla="*/ 2147483646 h 11127"/>
              <a:gd name="T82" fmla="*/ 2147483646 w 11924"/>
              <a:gd name="T83" fmla="*/ 2147483646 h 11127"/>
              <a:gd name="T84" fmla="*/ 2147483646 w 11924"/>
              <a:gd name="T85" fmla="*/ 2147483646 h 11127"/>
              <a:gd name="T86" fmla="*/ 2147483646 w 11924"/>
              <a:gd name="T87" fmla="*/ 2147483646 h 11127"/>
              <a:gd name="T88" fmla="*/ 2147483646 w 11924"/>
              <a:gd name="T89" fmla="*/ 2147483646 h 11127"/>
              <a:gd name="T90" fmla="*/ 2147483646 w 11924"/>
              <a:gd name="T91" fmla="*/ 2147483646 h 11127"/>
              <a:gd name="T92" fmla="*/ 2147483646 w 11924"/>
              <a:gd name="T93" fmla="*/ 2147483646 h 11127"/>
              <a:gd name="T94" fmla="*/ 2147483646 w 11924"/>
              <a:gd name="T95" fmla="*/ 2147483646 h 11127"/>
              <a:gd name="T96" fmla="*/ 2147483646 w 11924"/>
              <a:gd name="T97" fmla="*/ 2147483646 h 11127"/>
              <a:gd name="T98" fmla="*/ 2147483646 w 11924"/>
              <a:gd name="T99" fmla="*/ 2147483646 h 1112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1924" h="11127">
                <a:moveTo>
                  <a:pt x="11924" y="706"/>
                </a:moveTo>
                <a:lnTo>
                  <a:pt x="11924" y="319"/>
                </a:lnTo>
                <a:lnTo>
                  <a:pt x="5439" y="319"/>
                </a:lnTo>
                <a:lnTo>
                  <a:pt x="5439" y="706"/>
                </a:lnTo>
                <a:lnTo>
                  <a:pt x="5607" y="706"/>
                </a:lnTo>
                <a:lnTo>
                  <a:pt x="5607" y="3140"/>
                </a:lnTo>
                <a:lnTo>
                  <a:pt x="5998" y="2900"/>
                </a:lnTo>
                <a:lnTo>
                  <a:pt x="5998" y="710"/>
                </a:lnTo>
                <a:lnTo>
                  <a:pt x="11364" y="710"/>
                </a:lnTo>
                <a:lnTo>
                  <a:pt x="11364" y="5183"/>
                </a:lnTo>
                <a:lnTo>
                  <a:pt x="5998" y="5183"/>
                </a:lnTo>
                <a:lnTo>
                  <a:pt x="5998" y="4235"/>
                </a:lnTo>
                <a:lnTo>
                  <a:pt x="5607" y="4475"/>
                </a:lnTo>
                <a:lnTo>
                  <a:pt x="5607" y="5188"/>
                </a:lnTo>
                <a:lnTo>
                  <a:pt x="5439" y="5188"/>
                </a:lnTo>
                <a:lnTo>
                  <a:pt x="5439" y="5575"/>
                </a:lnTo>
                <a:lnTo>
                  <a:pt x="11924" y="5575"/>
                </a:lnTo>
                <a:lnTo>
                  <a:pt x="11924" y="5188"/>
                </a:lnTo>
                <a:lnTo>
                  <a:pt x="11756" y="5188"/>
                </a:lnTo>
                <a:lnTo>
                  <a:pt x="11756" y="706"/>
                </a:lnTo>
                <a:lnTo>
                  <a:pt x="11924" y="706"/>
                </a:lnTo>
                <a:close/>
                <a:moveTo>
                  <a:pt x="6904" y="2879"/>
                </a:moveTo>
                <a:cubicBezTo>
                  <a:pt x="6929" y="2906"/>
                  <a:pt x="6955" y="2934"/>
                  <a:pt x="6975" y="2967"/>
                </a:cubicBezTo>
                <a:cubicBezTo>
                  <a:pt x="6989" y="2991"/>
                  <a:pt x="7000" y="3017"/>
                  <a:pt x="7011" y="3042"/>
                </a:cubicBezTo>
                <a:lnTo>
                  <a:pt x="8482" y="2007"/>
                </a:lnTo>
                <a:lnTo>
                  <a:pt x="8442" y="1946"/>
                </a:lnTo>
                <a:lnTo>
                  <a:pt x="6904" y="2879"/>
                </a:lnTo>
                <a:close/>
                <a:moveTo>
                  <a:pt x="2930" y="3409"/>
                </a:moveTo>
                <a:lnTo>
                  <a:pt x="3256" y="2203"/>
                </a:lnTo>
                <a:lnTo>
                  <a:pt x="2609" y="2203"/>
                </a:lnTo>
                <a:lnTo>
                  <a:pt x="2930" y="3409"/>
                </a:lnTo>
                <a:close/>
                <a:moveTo>
                  <a:pt x="2933" y="1811"/>
                </a:moveTo>
                <a:cubicBezTo>
                  <a:pt x="3433" y="1811"/>
                  <a:pt x="3838" y="1405"/>
                  <a:pt x="3838" y="905"/>
                </a:cubicBezTo>
                <a:cubicBezTo>
                  <a:pt x="3838" y="405"/>
                  <a:pt x="3433" y="0"/>
                  <a:pt x="2933" y="0"/>
                </a:cubicBezTo>
                <a:cubicBezTo>
                  <a:pt x="2433" y="0"/>
                  <a:pt x="2028" y="405"/>
                  <a:pt x="2028" y="905"/>
                </a:cubicBezTo>
                <a:cubicBezTo>
                  <a:pt x="2028" y="1405"/>
                  <a:pt x="2433" y="1811"/>
                  <a:pt x="2933" y="1811"/>
                </a:cubicBezTo>
                <a:close/>
                <a:moveTo>
                  <a:pt x="5998" y="4035"/>
                </a:moveTo>
                <a:lnTo>
                  <a:pt x="6700" y="3604"/>
                </a:lnTo>
                <a:cubicBezTo>
                  <a:pt x="6859" y="3506"/>
                  <a:pt x="6924" y="3313"/>
                  <a:pt x="6869" y="3142"/>
                </a:cubicBezTo>
                <a:cubicBezTo>
                  <a:pt x="6859" y="3113"/>
                  <a:pt x="6847" y="3084"/>
                  <a:pt x="6830" y="3056"/>
                </a:cubicBezTo>
                <a:cubicBezTo>
                  <a:pt x="6809" y="3022"/>
                  <a:pt x="6784" y="2994"/>
                  <a:pt x="6756" y="2969"/>
                </a:cubicBezTo>
                <a:cubicBezTo>
                  <a:pt x="6682" y="2902"/>
                  <a:pt x="6587" y="2866"/>
                  <a:pt x="6490" y="2866"/>
                </a:cubicBezTo>
                <a:cubicBezTo>
                  <a:pt x="6419" y="2866"/>
                  <a:pt x="6346" y="2885"/>
                  <a:pt x="6281" y="2925"/>
                </a:cubicBezTo>
                <a:lnTo>
                  <a:pt x="5998" y="3099"/>
                </a:lnTo>
                <a:lnTo>
                  <a:pt x="5607" y="3340"/>
                </a:lnTo>
                <a:lnTo>
                  <a:pt x="5228" y="3573"/>
                </a:lnTo>
                <a:cubicBezTo>
                  <a:pt x="5125" y="3444"/>
                  <a:pt x="5021" y="3316"/>
                  <a:pt x="4918" y="3187"/>
                </a:cubicBezTo>
                <a:cubicBezTo>
                  <a:pt x="4759" y="2991"/>
                  <a:pt x="4606" y="2788"/>
                  <a:pt x="4444" y="2594"/>
                </a:cubicBezTo>
                <a:cubicBezTo>
                  <a:pt x="4334" y="2463"/>
                  <a:pt x="4229" y="2363"/>
                  <a:pt x="4068" y="2300"/>
                </a:cubicBezTo>
                <a:cubicBezTo>
                  <a:pt x="3963" y="2259"/>
                  <a:pt x="3846" y="2223"/>
                  <a:pt x="3730" y="2210"/>
                </a:cubicBezTo>
                <a:lnTo>
                  <a:pt x="4082" y="2646"/>
                </a:lnTo>
                <a:lnTo>
                  <a:pt x="3375" y="2612"/>
                </a:lnTo>
                <a:lnTo>
                  <a:pt x="3640" y="2854"/>
                </a:lnTo>
                <a:lnTo>
                  <a:pt x="2930" y="3770"/>
                </a:lnTo>
                <a:lnTo>
                  <a:pt x="2226" y="2854"/>
                </a:lnTo>
                <a:lnTo>
                  <a:pt x="2491" y="2612"/>
                </a:lnTo>
                <a:lnTo>
                  <a:pt x="1784" y="2646"/>
                </a:lnTo>
                <a:lnTo>
                  <a:pt x="2134" y="2212"/>
                </a:lnTo>
                <a:cubicBezTo>
                  <a:pt x="1995" y="2231"/>
                  <a:pt x="1792" y="2287"/>
                  <a:pt x="1655" y="2368"/>
                </a:cubicBezTo>
                <a:cubicBezTo>
                  <a:pt x="1379" y="2530"/>
                  <a:pt x="1153" y="2811"/>
                  <a:pt x="1075" y="3125"/>
                </a:cubicBezTo>
                <a:lnTo>
                  <a:pt x="732" y="4107"/>
                </a:lnTo>
                <a:lnTo>
                  <a:pt x="72" y="5994"/>
                </a:lnTo>
                <a:cubicBezTo>
                  <a:pt x="0" y="6203"/>
                  <a:pt x="111" y="6432"/>
                  <a:pt x="321" y="6505"/>
                </a:cubicBezTo>
                <a:cubicBezTo>
                  <a:pt x="365" y="6520"/>
                  <a:pt x="409" y="6527"/>
                  <a:pt x="452" y="6527"/>
                </a:cubicBezTo>
                <a:cubicBezTo>
                  <a:pt x="619" y="6527"/>
                  <a:pt x="775" y="6422"/>
                  <a:pt x="832" y="6255"/>
                </a:cubicBezTo>
                <a:lnTo>
                  <a:pt x="1756" y="3614"/>
                </a:lnTo>
                <a:lnTo>
                  <a:pt x="1969" y="4683"/>
                </a:lnTo>
                <a:lnTo>
                  <a:pt x="953" y="7527"/>
                </a:lnTo>
                <a:lnTo>
                  <a:pt x="1895" y="7527"/>
                </a:lnTo>
                <a:lnTo>
                  <a:pt x="1895" y="10649"/>
                </a:lnTo>
                <a:cubicBezTo>
                  <a:pt x="1895" y="10913"/>
                  <a:pt x="2109" y="11127"/>
                  <a:pt x="2373" y="11127"/>
                </a:cubicBezTo>
                <a:cubicBezTo>
                  <a:pt x="2637" y="11127"/>
                  <a:pt x="2851" y="10913"/>
                  <a:pt x="2851" y="10649"/>
                </a:cubicBezTo>
                <a:lnTo>
                  <a:pt x="2851" y="7527"/>
                </a:lnTo>
                <a:lnTo>
                  <a:pt x="3015" y="7527"/>
                </a:lnTo>
                <a:lnTo>
                  <a:pt x="3015" y="10649"/>
                </a:lnTo>
                <a:cubicBezTo>
                  <a:pt x="3015" y="10913"/>
                  <a:pt x="3229" y="11127"/>
                  <a:pt x="3493" y="11127"/>
                </a:cubicBezTo>
                <a:cubicBezTo>
                  <a:pt x="3757" y="11127"/>
                  <a:pt x="3971" y="10913"/>
                  <a:pt x="3971" y="10649"/>
                </a:cubicBezTo>
                <a:lnTo>
                  <a:pt x="3971" y="7527"/>
                </a:lnTo>
                <a:lnTo>
                  <a:pt x="4913" y="7527"/>
                </a:lnTo>
                <a:lnTo>
                  <a:pt x="3891" y="4683"/>
                </a:lnTo>
                <a:lnTo>
                  <a:pt x="4122" y="3470"/>
                </a:lnTo>
                <a:lnTo>
                  <a:pt x="4826" y="4347"/>
                </a:lnTo>
                <a:cubicBezTo>
                  <a:pt x="4904" y="4444"/>
                  <a:pt x="5020" y="4496"/>
                  <a:pt x="5137" y="4496"/>
                </a:cubicBezTo>
                <a:cubicBezTo>
                  <a:pt x="5209" y="4496"/>
                  <a:pt x="5281" y="4476"/>
                  <a:pt x="5346" y="4437"/>
                </a:cubicBezTo>
                <a:lnTo>
                  <a:pt x="5607" y="4276"/>
                </a:lnTo>
                <a:lnTo>
                  <a:pt x="5998" y="4035"/>
                </a:lnTo>
                <a:close/>
                <a:moveTo>
                  <a:pt x="8780" y="1934"/>
                </a:moveTo>
                <a:lnTo>
                  <a:pt x="8780" y="4954"/>
                </a:lnTo>
                <a:lnTo>
                  <a:pt x="9683" y="4954"/>
                </a:lnTo>
                <a:lnTo>
                  <a:pt x="9683" y="1934"/>
                </a:lnTo>
                <a:lnTo>
                  <a:pt x="8780" y="1934"/>
                </a:lnTo>
                <a:close/>
                <a:moveTo>
                  <a:pt x="8522" y="4954"/>
                </a:moveTo>
                <a:lnTo>
                  <a:pt x="8522" y="3315"/>
                </a:lnTo>
                <a:lnTo>
                  <a:pt x="7620" y="3315"/>
                </a:lnTo>
                <a:lnTo>
                  <a:pt x="7620" y="4954"/>
                </a:lnTo>
                <a:lnTo>
                  <a:pt x="8522" y="4954"/>
                </a:lnTo>
                <a:close/>
                <a:moveTo>
                  <a:pt x="9941" y="2836"/>
                </a:moveTo>
                <a:lnTo>
                  <a:pt x="9941" y="4954"/>
                </a:lnTo>
                <a:lnTo>
                  <a:pt x="10843" y="4954"/>
                </a:lnTo>
                <a:lnTo>
                  <a:pt x="10843" y="2836"/>
                </a:lnTo>
                <a:lnTo>
                  <a:pt x="9941" y="28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ZA"/>
          </a:p>
        </p:txBody>
      </p:sp>
      <p:pic>
        <p:nvPicPr>
          <p:cNvPr id="35875" name="Picture 35" descr="Assessor Icon - Free PNG &amp; SVG 3634464 - Noun Project">
            <a:extLst>
              <a:ext uri="{FF2B5EF4-FFF2-40B4-BE49-F238E27FC236}">
                <a16:creationId xmlns:a16="http://schemas.microsoft.com/office/drawing/2014/main" id="{CAC50E56-DD33-0205-A176-3467FC7C1D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3924" y="3482462"/>
            <a:ext cx="644412" cy="644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8DF5EB-2A8C-3AD5-FC06-8F22F21AFE42}"/>
              </a:ext>
            </a:extLst>
          </p:cNvPr>
          <p:cNvSpPr txBox="1"/>
          <p:nvPr/>
        </p:nvSpPr>
        <p:spPr>
          <a:xfrm>
            <a:off x="2253940" y="319856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le Players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0C2CB51-7459-8E2C-A63A-44FF08A4131A}"/>
              </a:ext>
            </a:extLst>
          </p:cNvPr>
          <p:cNvSpPr/>
          <p:nvPr/>
        </p:nvSpPr>
        <p:spPr>
          <a:xfrm>
            <a:off x="1577975" y="1501775"/>
            <a:ext cx="9471025" cy="10128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7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C1155E-17F3-0F38-98EC-92702C3E2951}"/>
              </a:ext>
            </a:extLst>
          </p:cNvPr>
          <p:cNvSpPr/>
          <p:nvPr/>
        </p:nvSpPr>
        <p:spPr>
          <a:xfrm>
            <a:off x="1577975" y="2498725"/>
            <a:ext cx="9471025" cy="101282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7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C9E24AE-C5DC-4A9D-BB0D-7F99BC4565FD}"/>
              </a:ext>
            </a:extLst>
          </p:cNvPr>
          <p:cNvSpPr/>
          <p:nvPr/>
        </p:nvSpPr>
        <p:spPr>
          <a:xfrm>
            <a:off x="1577975" y="3495675"/>
            <a:ext cx="9471025" cy="10128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7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F8D31E-7B03-7659-B7E9-BD3DA32D0D51}"/>
              </a:ext>
            </a:extLst>
          </p:cNvPr>
          <p:cNvSpPr/>
          <p:nvPr/>
        </p:nvSpPr>
        <p:spPr>
          <a:xfrm>
            <a:off x="1577975" y="4492625"/>
            <a:ext cx="9471025" cy="10144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7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0417CFE-AFB9-3E1D-10E6-0A06D81FD742}"/>
              </a:ext>
            </a:extLst>
          </p:cNvPr>
          <p:cNvSpPr/>
          <p:nvPr/>
        </p:nvSpPr>
        <p:spPr>
          <a:xfrm>
            <a:off x="941388" y="1716088"/>
            <a:ext cx="514350" cy="582612"/>
          </a:xfrm>
          <a:prstGeom prst="ellipse">
            <a:avLst/>
          </a:prstGeom>
          <a:solidFill>
            <a:schemeClr val="accent4"/>
          </a:solidFill>
          <a:ln w="825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700"/>
          </a:p>
        </p:txBody>
      </p:sp>
      <p:sp>
        <p:nvSpPr>
          <p:cNvPr id="36872" name="TextBox 7">
            <a:extLst>
              <a:ext uri="{FF2B5EF4-FFF2-40B4-BE49-F238E27FC236}">
                <a16:creationId xmlns:a16="http://schemas.microsoft.com/office/drawing/2014/main" id="{425C738F-3A87-6CA5-09AA-C46BB52E2A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5838" y="1754188"/>
            <a:ext cx="420687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ko-KR" sz="2700" b="1">
                <a:solidFill>
                  <a:schemeClr val="bg1"/>
                </a:solidFill>
              </a:rPr>
              <a:t>1</a:t>
            </a:r>
            <a:endParaRPr lang="ko-KR" altLang="en-US" sz="2700" b="1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603761B-3FB7-EB6F-8825-58A896C03CF3}"/>
              </a:ext>
            </a:extLst>
          </p:cNvPr>
          <p:cNvSpPr/>
          <p:nvPr/>
        </p:nvSpPr>
        <p:spPr>
          <a:xfrm>
            <a:off x="941388" y="2703513"/>
            <a:ext cx="514350" cy="582612"/>
          </a:xfrm>
          <a:prstGeom prst="ellipse">
            <a:avLst/>
          </a:prstGeom>
          <a:solidFill>
            <a:schemeClr val="accent3"/>
          </a:solidFill>
          <a:ln w="825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700"/>
          </a:p>
        </p:txBody>
      </p:sp>
      <p:sp>
        <p:nvSpPr>
          <p:cNvPr id="36874" name="TextBox 9">
            <a:extLst>
              <a:ext uri="{FF2B5EF4-FFF2-40B4-BE49-F238E27FC236}">
                <a16:creationId xmlns:a16="http://schemas.microsoft.com/office/drawing/2014/main" id="{E9BCF714-96C8-EBEE-CFA9-979EB9987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5838" y="2741613"/>
            <a:ext cx="420687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ko-KR" sz="2700" b="1">
                <a:solidFill>
                  <a:schemeClr val="bg1"/>
                </a:solidFill>
              </a:rPr>
              <a:t>2</a:t>
            </a:r>
            <a:endParaRPr lang="ko-KR" altLang="en-US" sz="2700" b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C439073-CAF6-BD50-4527-0B02CE4F01FD}"/>
              </a:ext>
            </a:extLst>
          </p:cNvPr>
          <p:cNvSpPr/>
          <p:nvPr/>
        </p:nvSpPr>
        <p:spPr>
          <a:xfrm>
            <a:off x="941388" y="3690938"/>
            <a:ext cx="514350" cy="582612"/>
          </a:xfrm>
          <a:prstGeom prst="ellipse">
            <a:avLst/>
          </a:prstGeom>
          <a:solidFill>
            <a:schemeClr val="accent6"/>
          </a:solidFill>
          <a:ln w="825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700"/>
          </a:p>
        </p:txBody>
      </p:sp>
      <p:sp>
        <p:nvSpPr>
          <p:cNvPr id="36876" name="TextBox 11">
            <a:extLst>
              <a:ext uri="{FF2B5EF4-FFF2-40B4-BE49-F238E27FC236}">
                <a16:creationId xmlns:a16="http://schemas.microsoft.com/office/drawing/2014/main" id="{CC319575-5C45-CF01-686F-635C9DF6D0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5838" y="3729038"/>
            <a:ext cx="420687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ko-KR" sz="2700" b="1">
                <a:solidFill>
                  <a:schemeClr val="bg1"/>
                </a:solidFill>
              </a:rPr>
              <a:t>3</a:t>
            </a:r>
            <a:endParaRPr lang="ko-KR" altLang="en-US" sz="2700" b="1">
              <a:solidFill>
                <a:schemeClr val="bg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D058B75-9606-A6AA-F2D0-6FC4CE8EFD26}"/>
              </a:ext>
            </a:extLst>
          </p:cNvPr>
          <p:cNvSpPr/>
          <p:nvPr/>
        </p:nvSpPr>
        <p:spPr>
          <a:xfrm>
            <a:off x="941388" y="4678363"/>
            <a:ext cx="514350" cy="581025"/>
          </a:xfrm>
          <a:prstGeom prst="ellipse">
            <a:avLst/>
          </a:prstGeom>
          <a:solidFill>
            <a:schemeClr val="accent1"/>
          </a:solidFill>
          <a:ln w="825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700"/>
          </a:p>
        </p:txBody>
      </p:sp>
      <p:sp>
        <p:nvSpPr>
          <p:cNvPr id="36878" name="TextBox 13">
            <a:extLst>
              <a:ext uri="{FF2B5EF4-FFF2-40B4-BE49-F238E27FC236}">
                <a16:creationId xmlns:a16="http://schemas.microsoft.com/office/drawing/2014/main" id="{8DD85729-62E2-E575-96EB-5D5C6B7C18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5838" y="4716463"/>
            <a:ext cx="420687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ko-KR" sz="2700" b="1">
                <a:solidFill>
                  <a:schemeClr val="bg1"/>
                </a:solidFill>
              </a:rPr>
              <a:t>4</a:t>
            </a:r>
            <a:endParaRPr lang="ko-KR" altLang="en-US" sz="2700" b="1">
              <a:solidFill>
                <a:schemeClr val="bg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F5358C7-6813-B5A9-D7CC-35A2DF47CD81}"/>
              </a:ext>
            </a:extLst>
          </p:cNvPr>
          <p:cNvGrpSpPr/>
          <p:nvPr/>
        </p:nvGrpSpPr>
        <p:grpSpPr>
          <a:xfrm>
            <a:off x="597115" y="1345697"/>
            <a:ext cx="1223598" cy="1414627"/>
            <a:chOff x="1779602" y="1104706"/>
            <a:chExt cx="1188052" cy="1214673"/>
          </a:xfrm>
          <a:solidFill>
            <a:schemeClr val="accent4"/>
          </a:solidFill>
        </p:grpSpPr>
        <p:sp>
          <p:nvSpPr>
            <p:cNvPr id="16" name="Block Arc 15">
              <a:extLst>
                <a:ext uri="{FF2B5EF4-FFF2-40B4-BE49-F238E27FC236}">
                  <a16:creationId xmlns:a16="http://schemas.microsoft.com/office/drawing/2014/main" id="{1AD6B3AE-CCFB-3780-0602-35E3DED1F784}"/>
                </a:ext>
              </a:extLst>
            </p:cNvPr>
            <p:cNvSpPr/>
            <p:nvPr/>
          </p:nvSpPr>
          <p:spPr>
            <a:xfrm rot="5400000">
              <a:off x="1779602" y="1131327"/>
              <a:ext cx="1188052" cy="1188052"/>
            </a:xfrm>
            <a:prstGeom prst="blockArc">
              <a:avLst>
                <a:gd name="adj1" fmla="val 10473157"/>
                <a:gd name="adj2" fmla="val 203130"/>
                <a:gd name="adj3" fmla="val 1863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>
                <a:solidFill>
                  <a:schemeClr val="tx1"/>
                </a:solidFill>
              </a:endParaRPr>
            </a:p>
          </p:txBody>
        </p:sp>
        <p:sp>
          <p:nvSpPr>
            <p:cNvPr id="17" name="Right Triangle 16">
              <a:extLst>
                <a:ext uri="{FF2B5EF4-FFF2-40B4-BE49-F238E27FC236}">
                  <a16:creationId xmlns:a16="http://schemas.microsoft.com/office/drawing/2014/main" id="{ECF108EF-E857-A9D8-33B1-E963244E76E3}"/>
                </a:ext>
              </a:extLst>
            </p:cNvPr>
            <p:cNvSpPr/>
            <p:nvPr/>
          </p:nvSpPr>
          <p:spPr>
            <a:xfrm rot="2700000">
              <a:off x="2223425" y="1104706"/>
              <a:ext cx="261214" cy="261214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44AF20C-671C-87CD-A1C9-2C47CB6D1BE3}"/>
              </a:ext>
            </a:extLst>
          </p:cNvPr>
          <p:cNvGrpSpPr/>
          <p:nvPr/>
        </p:nvGrpSpPr>
        <p:grpSpPr>
          <a:xfrm>
            <a:off x="597115" y="2327709"/>
            <a:ext cx="1223598" cy="1414627"/>
            <a:chOff x="1779602" y="1104706"/>
            <a:chExt cx="1188052" cy="1214673"/>
          </a:xfrm>
          <a:solidFill>
            <a:schemeClr val="accent3"/>
          </a:solidFill>
        </p:grpSpPr>
        <p:sp>
          <p:nvSpPr>
            <p:cNvPr id="19" name="Block Arc 18">
              <a:extLst>
                <a:ext uri="{FF2B5EF4-FFF2-40B4-BE49-F238E27FC236}">
                  <a16:creationId xmlns:a16="http://schemas.microsoft.com/office/drawing/2014/main" id="{09CA8570-B0EF-136E-A77F-856FE940B9AB}"/>
                </a:ext>
              </a:extLst>
            </p:cNvPr>
            <p:cNvSpPr/>
            <p:nvPr/>
          </p:nvSpPr>
          <p:spPr>
            <a:xfrm rot="5400000">
              <a:off x="1779602" y="1131327"/>
              <a:ext cx="1188052" cy="1188052"/>
            </a:xfrm>
            <a:prstGeom prst="blockArc">
              <a:avLst>
                <a:gd name="adj1" fmla="val 10473157"/>
                <a:gd name="adj2" fmla="val 203130"/>
                <a:gd name="adj3" fmla="val 1863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>
                <a:solidFill>
                  <a:schemeClr val="tx1"/>
                </a:solidFill>
              </a:endParaRPr>
            </a:p>
          </p:txBody>
        </p:sp>
        <p:sp>
          <p:nvSpPr>
            <p:cNvPr id="20" name="Right Triangle 19">
              <a:extLst>
                <a:ext uri="{FF2B5EF4-FFF2-40B4-BE49-F238E27FC236}">
                  <a16:creationId xmlns:a16="http://schemas.microsoft.com/office/drawing/2014/main" id="{E1ECEC4E-C63D-D6E4-53C5-D16E0433BDD7}"/>
                </a:ext>
              </a:extLst>
            </p:cNvPr>
            <p:cNvSpPr/>
            <p:nvPr/>
          </p:nvSpPr>
          <p:spPr>
            <a:xfrm rot="2700000">
              <a:off x="2223425" y="1104706"/>
              <a:ext cx="261214" cy="261214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649D260-466A-B31D-EAA4-6006C862E44F}"/>
              </a:ext>
            </a:extLst>
          </p:cNvPr>
          <p:cNvGrpSpPr/>
          <p:nvPr/>
        </p:nvGrpSpPr>
        <p:grpSpPr>
          <a:xfrm>
            <a:off x="597115" y="3309721"/>
            <a:ext cx="1223598" cy="1414627"/>
            <a:chOff x="1779602" y="1104706"/>
            <a:chExt cx="1188052" cy="1214673"/>
          </a:xfrm>
          <a:solidFill>
            <a:schemeClr val="accent2"/>
          </a:solidFill>
        </p:grpSpPr>
        <p:sp>
          <p:nvSpPr>
            <p:cNvPr id="22" name="Block Arc 21">
              <a:extLst>
                <a:ext uri="{FF2B5EF4-FFF2-40B4-BE49-F238E27FC236}">
                  <a16:creationId xmlns:a16="http://schemas.microsoft.com/office/drawing/2014/main" id="{FBA507A9-DEC0-F352-FEFC-D1AD9C77290C}"/>
                </a:ext>
              </a:extLst>
            </p:cNvPr>
            <p:cNvSpPr/>
            <p:nvPr/>
          </p:nvSpPr>
          <p:spPr>
            <a:xfrm rot="5400000">
              <a:off x="1779602" y="1131327"/>
              <a:ext cx="1188052" cy="1188052"/>
            </a:xfrm>
            <a:prstGeom prst="blockArc">
              <a:avLst>
                <a:gd name="adj1" fmla="val 10473157"/>
                <a:gd name="adj2" fmla="val 203130"/>
                <a:gd name="adj3" fmla="val 1863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>
                <a:solidFill>
                  <a:schemeClr val="tx1"/>
                </a:solidFill>
              </a:endParaRPr>
            </a:p>
          </p:txBody>
        </p:sp>
        <p:sp>
          <p:nvSpPr>
            <p:cNvPr id="23" name="Right Triangle 22">
              <a:extLst>
                <a:ext uri="{FF2B5EF4-FFF2-40B4-BE49-F238E27FC236}">
                  <a16:creationId xmlns:a16="http://schemas.microsoft.com/office/drawing/2014/main" id="{8C45BF1A-4170-FEFA-C4A7-C617F3EADE8D}"/>
                </a:ext>
              </a:extLst>
            </p:cNvPr>
            <p:cNvSpPr/>
            <p:nvPr/>
          </p:nvSpPr>
          <p:spPr>
            <a:xfrm rot="2700000">
              <a:off x="2223425" y="1104706"/>
              <a:ext cx="261214" cy="261214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5B8C9C1-B961-D0B5-0359-300378E919AE}"/>
              </a:ext>
            </a:extLst>
          </p:cNvPr>
          <p:cNvGrpSpPr/>
          <p:nvPr/>
        </p:nvGrpSpPr>
        <p:grpSpPr>
          <a:xfrm>
            <a:off x="597115" y="4291733"/>
            <a:ext cx="1223598" cy="1414627"/>
            <a:chOff x="1779602" y="1104706"/>
            <a:chExt cx="1188052" cy="1214673"/>
          </a:xfrm>
          <a:solidFill>
            <a:schemeClr val="accent1"/>
          </a:solidFill>
        </p:grpSpPr>
        <p:sp>
          <p:nvSpPr>
            <p:cNvPr id="25" name="Block Arc 24">
              <a:extLst>
                <a:ext uri="{FF2B5EF4-FFF2-40B4-BE49-F238E27FC236}">
                  <a16:creationId xmlns:a16="http://schemas.microsoft.com/office/drawing/2014/main" id="{424E811D-5429-E270-E22B-269DD5AE05A0}"/>
                </a:ext>
              </a:extLst>
            </p:cNvPr>
            <p:cNvSpPr/>
            <p:nvPr/>
          </p:nvSpPr>
          <p:spPr>
            <a:xfrm rot="5400000">
              <a:off x="1779602" y="1131327"/>
              <a:ext cx="1188052" cy="1188052"/>
            </a:xfrm>
            <a:prstGeom prst="blockArc">
              <a:avLst>
                <a:gd name="adj1" fmla="val 10473157"/>
                <a:gd name="adj2" fmla="val 5483321"/>
                <a:gd name="adj3" fmla="val 1697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>
                <a:solidFill>
                  <a:schemeClr val="tx1"/>
                </a:solidFill>
              </a:endParaRPr>
            </a:p>
          </p:txBody>
        </p:sp>
        <p:sp>
          <p:nvSpPr>
            <p:cNvPr id="26" name="Right Triangle 25">
              <a:extLst>
                <a:ext uri="{FF2B5EF4-FFF2-40B4-BE49-F238E27FC236}">
                  <a16:creationId xmlns:a16="http://schemas.microsoft.com/office/drawing/2014/main" id="{AA7108AE-9C11-961F-0425-7BEE467BCE33}"/>
                </a:ext>
              </a:extLst>
            </p:cNvPr>
            <p:cNvSpPr/>
            <p:nvPr/>
          </p:nvSpPr>
          <p:spPr>
            <a:xfrm rot="2700000">
              <a:off x="2223425" y="1104706"/>
              <a:ext cx="261214" cy="261214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EF68815D-8EB8-8B53-D2B7-752654E15D7A}"/>
              </a:ext>
            </a:extLst>
          </p:cNvPr>
          <p:cNvSpPr txBox="1"/>
          <p:nvPr/>
        </p:nvSpPr>
        <p:spPr>
          <a:xfrm>
            <a:off x="1966913" y="1546225"/>
            <a:ext cx="5016500" cy="739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mployers are required to ensure personnel are competent to perform any function for which they are responsible prior to performing them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4568869-F57C-A56D-297B-3FC378ECF8B9}"/>
              </a:ext>
            </a:extLst>
          </p:cNvPr>
          <p:cNvSpPr txBox="1"/>
          <p:nvPr/>
        </p:nvSpPr>
        <p:spPr>
          <a:xfrm>
            <a:off x="2024063" y="2508250"/>
            <a:ext cx="4945062" cy="9540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he Employers conduct training needs analysis (TNA) to determine the results that the training needs to achieve and what resources exist to achieve them- determine the purpose and objectiv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17F8F33-B666-E854-8B55-263603D4D453}"/>
              </a:ext>
            </a:extLst>
          </p:cNvPr>
          <p:cNvSpPr txBox="1"/>
          <p:nvPr/>
        </p:nvSpPr>
        <p:spPr>
          <a:xfrm>
            <a:off x="2008188" y="3576638"/>
            <a:ext cx="4945062" cy="5222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mployers are responsible for all 4 phases of the Competency based training and assessment program.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2DBB503-B510-9AF1-DE2E-5C7E93BA0C32}"/>
              </a:ext>
            </a:extLst>
          </p:cNvPr>
          <p:cNvSpPr txBox="1"/>
          <p:nvPr/>
        </p:nvSpPr>
        <p:spPr>
          <a:xfrm>
            <a:off x="2024063" y="4551363"/>
            <a:ext cx="4945062" cy="738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mployers may delegate some aspects to third party providers; however, employers will remain responsible for the training program</a:t>
            </a:r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.</a:t>
            </a:r>
          </a:p>
        </p:txBody>
      </p:sp>
      <p:grpSp>
        <p:nvGrpSpPr>
          <p:cNvPr id="36887" name="Group 38">
            <a:extLst>
              <a:ext uri="{FF2B5EF4-FFF2-40B4-BE49-F238E27FC236}">
                <a16:creationId xmlns:a16="http://schemas.microsoft.com/office/drawing/2014/main" id="{409064AD-BDE8-E436-6746-91B9575C3DF3}"/>
              </a:ext>
            </a:extLst>
          </p:cNvPr>
          <p:cNvGrpSpPr>
            <a:grpSpLocks/>
          </p:cNvGrpSpPr>
          <p:nvPr/>
        </p:nvGrpSpPr>
        <p:grpSpPr bwMode="auto">
          <a:xfrm>
            <a:off x="6896100" y="1422400"/>
            <a:ext cx="4122738" cy="555625"/>
            <a:chOff x="1487532" y="2017033"/>
            <a:chExt cx="2952328" cy="376914"/>
          </a:xfrm>
        </p:grpSpPr>
        <p:sp>
          <p:nvSpPr>
            <p:cNvPr id="40" name="Rectangle 9">
              <a:extLst>
                <a:ext uri="{FF2B5EF4-FFF2-40B4-BE49-F238E27FC236}">
                  <a16:creationId xmlns:a16="http://schemas.microsoft.com/office/drawing/2014/main" id="{6072646C-7746-1798-3CC7-C17311B793DB}"/>
                </a:ext>
              </a:extLst>
            </p:cNvPr>
            <p:cNvSpPr/>
            <p:nvPr/>
          </p:nvSpPr>
          <p:spPr>
            <a:xfrm>
              <a:off x="4319357" y="2026725"/>
              <a:ext cx="115956" cy="367222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/>
            </a:p>
          </p:txBody>
        </p:sp>
        <p:sp>
          <p:nvSpPr>
            <p:cNvPr id="41" name="Rectangle 6">
              <a:extLst>
                <a:ext uri="{FF2B5EF4-FFF2-40B4-BE49-F238E27FC236}">
                  <a16:creationId xmlns:a16="http://schemas.microsoft.com/office/drawing/2014/main" id="{6555369B-A918-185D-8E29-5193EAD90F9B}"/>
                </a:ext>
              </a:extLst>
            </p:cNvPr>
            <p:cNvSpPr/>
            <p:nvPr/>
          </p:nvSpPr>
          <p:spPr>
            <a:xfrm flipH="1">
              <a:off x="1487532" y="2017033"/>
              <a:ext cx="2952328" cy="287532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/>
            </a:p>
          </p:txBody>
        </p:sp>
      </p:grpSp>
      <p:grpSp>
        <p:nvGrpSpPr>
          <p:cNvPr id="36888" name="Group 41">
            <a:extLst>
              <a:ext uri="{FF2B5EF4-FFF2-40B4-BE49-F238E27FC236}">
                <a16:creationId xmlns:a16="http://schemas.microsoft.com/office/drawing/2014/main" id="{C0EE3DD8-5C5E-A1FC-E4E6-3A3ABDD34EA2}"/>
              </a:ext>
            </a:extLst>
          </p:cNvPr>
          <p:cNvGrpSpPr>
            <a:grpSpLocks/>
          </p:cNvGrpSpPr>
          <p:nvPr/>
        </p:nvGrpSpPr>
        <p:grpSpPr bwMode="auto">
          <a:xfrm>
            <a:off x="6896100" y="2405063"/>
            <a:ext cx="4122738" cy="554037"/>
            <a:chOff x="1487532" y="2017033"/>
            <a:chExt cx="2952328" cy="376914"/>
          </a:xfrm>
        </p:grpSpPr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429CEFA7-B31B-B7CF-8AEA-4C4AAD59AF5F}"/>
                </a:ext>
              </a:extLst>
            </p:cNvPr>
            <p:cNvSpPr/>
            <p:nvPr/>
          </p:nvSpPr>
          <p:spPr>
            <a:xfrm>
              <a:off x="4319357" y="2026753"/>
              <a:ext cx="115956" cy="36719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/>
            </a:p>
          </p:txBody>
        </p:sp>
        <p:sp>
          <p:nvSpPr>
            <p:cNvPr id="44" name="Rectangle 6">
              <a:extLst>
                <a:ext uri="{FF2B5EF4-FFF2-40B4-BE49-F238E27FC236}">
                  <a16:creationId xmlns:a16="http://schemas.microsoft.com/office/drawing/2014/main" id="{FE452534-1020-E547-DF6B-61F9201A9688}"/>
                </a:ext>
              </a:extLst>
            </p:cNvPr>
            <p:cNvSpPr/>
            <p:nvPr/>
          </p:nvSpPr>
          <p:spPr>
            <a:xfrm flipH="1">
              <a:off x="1487532" y="2017033"/>
              <a:ext cx="2952328" cy="288355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/>
            </a:p>
          </p:txBody>
        </p:sp>
      </p:grpSp>
      <p:grpSp>
        <p:nvGrpSpPr>
          <p:cNvPr id="36889" name="Group 44">
            <a:extLst>
              <a:ext uri="{FF2B5EF4-FFF2-40B4-BE49-F238E27FC236}">
                <a16:creationId xmlns:a16="http://schemas.microsoft.com/office/drawing/2014/main" id="{9466998E-DF82-7A79-2213-9F0ABB883FFD}"/>
              </a:ext>
            </a:extLst>
          </p:cNvPr>
          <p:cNvGrpSpPr>
            <a:grpSpLocks/>
          </p:cNvGrpSpPr>
          <p:nvPr/>
        </p:nvGrpSpPr>
        <p:grpSpPr bwMode="auto">
          <a:xfrm>
            <a:off x="6896100" y="3387725"/>
            <a:ext cx="4122738" cy="554038"/>
            <a:chOff x="1487532" y="2017033"/>
            <a:chExt cx="2952328" cy="376914"/>
          </a:xfrm>
        </p:grpSpPr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5E09C976-5B0D-B9A7-29CD-3E1505FC7D8D}"/>
                </a:ext>
              </a:extLst>
            </p:cNvPr>
            <p:cNvSpPr/>
            <p:nvPr/>
          </p:nvSpPr>
          <p:spPr>
            <a:xfrm>
              <a:off x="4319357" y="2026753"/>
              <a:ext cx="115956" cy="36719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/>
            </a:p>
          </p:txBody>
        </p:sp>
        <p:sp>
          <p:nvSpPr>
            <p:cNvPr id="47" name="Rectangle 6">
              <a:extLst>
                <a:ext uri="{FF2B5EF4-FFF2-40B4-BE49-F238E27FC236}">
                  <a16:creationId xmlns:a16="http://schemas.microsoft.com/office/drawing/2014/main" id="{EE4C2A08-1F06-AA60-3C6D-DF7FBEA08797}"/>
                </a:ext>
              </a:extLst>
            </p:cNvPr>
            <p:cNvSpPr/>
            <p:nvPr/>
          </p:nvSpPr>
          <p:spPr>
            <a:xfrm flipH="1">
              <a:off x="1487532" y="2017033"/>
              <a:ext cx="2952328" cy="288355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/>
            </a:p>
          </p:txBody>
        </p:sp>
      </p:grpSp>
      <p:grpSp>
        <p:nvGrpSpPr>
          <p:cNvPr id="36890" name="Group 47">
            <a:extLst>
              <a:ext uri="{FF2B5EF4-FFF2-40B4-BE49-F238E27FC236}">
                <a16:creationId xmlns:a16="http://schemas.microsoft.com/office/drawing/2014/main" id="{7585514C-ECD8-D14A-8155-70446B5291B3}"/>
              </a:ext>
            </a:extLst>
          </p:cNvPr>
          <p:cNvGrpSpPr>
            <a:grpSpLocks/>
          </p:cNvGrpSpPr>
          <p:nvPr/>
        </p:nvGrpSpPr>
        <p:grpSpPr bwMode="auto">
          <a:xfrm>
            <a:off x="6896100" y="4368800"/>
            <a:ext cx="4122738" cy="554038"/>
            <a:chOff x="1487532" y="2017033"/>
            <a:chExt cx="2952328" cy="376914"/>
          </a:xfrm>
        </p:grpSpPr>
        <p:sp>
          <p:nvSpPr>
            <p:cNvPr id="49" name="Rectangle 9">
              <a:extLst>
                <a:ext uri="{FF2B5EF4-FFF2-40B4-BE49-F238E27FC236}">
                  <a16:creationId xmlns:a16="http://schemas.microsoft.com/office/drawing/2014/main" id="{CA33E8DD-77B8-9621-4162-FE8FA84CBCE0}"/>
                </a:ext>
              </a:extLst>
            </p:cNvPr>
            <p:cNvSpPr/>
            <p:nvPr/>
          </p:nvSpPr>
          <p:spPr>
            <a:xfrm>
              <a:off x="4319357" y="2026753"/>
              <a:ext cx="115956" cy="36719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/>
            </a:p>
          </p:txBody>
        </p:sp>
        <p:sp>
          <p:nvSpPr>
            <p:cNvPr id="50" name="Rectangle 6">
              <a:extLst>
                <a:ext uri="{FF2B5EF4-FFF2-40B4-BE49-F238E27FC236}">
                  <a16:creationId xmlns:a16="http://schemas.microsoft.com/office/drawing/2014/main" id="{BCD50733-74EF-5673-6C41-757019CD456A}"/>
                </a:ext>
              </a:extLst>
            </p:cNvPr>
            <p:cNvSpPr/>
            <p:nvPr/>
          </p:nvSpPr>
          <p:spPr>
            <a:xfrm flipH="1">
              <a:off x="1487532" y="2017033"/>
              <a:ext cx="2952328" cy="288355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0"/>
            </a:p>
          </p:txBody>
        </p:sp>
      </p:grpSp>
      <p:sp>
        <p:nvSpPr>
          <p:cNvPr id="36891" name="TextBox 70">
            <a:extLst>
              <a:ext uri="{FF2B5EF4-FFF2-40B4-BE49-F238E27FC236}">
                <a16:creationId xmlns:a16="http://schemas.microsoft.com/office/drawing/2014/main" id="{3209F7CA-0600-428E-B8D5-1621D7D23D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08888" y="1476375"/>
            <a:ext cx="2990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ko-KR" sz="1400" b="1">
                <a:solidFill>
                  <a:schemeClr val="bg1"/>
                </a:solidFill>
                <a:cs typeface="Arial" panose="020B0604020202020204" pitchFamily="34" charset="0"/>
              </a:rPr>
              <a:t>Responsibility</a:t>
            </a:r>
            <a:endParaRPr lang="ko-KR" altLang="en-US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6892" name="TextBox 71">
            <a:extLst>
              <a:ext uri="{FF2B5EF4-FFF2-40B4-BE49-F238E27FC236}">
                <a16:creationId xmlns:a16="http://schemas.microsoft.com/office/drawing/2014/main" id="{276AF4C7-C20C-57D9-A32F-4925FAECDD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08888" y="2459038"/>
            <a:ext cx="2990850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ko-KR" sz="1400" b="1">
                <a:solidFill>
                  <a:schemeClr val="bg1"/>
                </a:solidFill>
                <a:cs typeface="Arial" panose="020B0604020202020204" pitchFamily="34" charset="0"/>
              </a:rPr>
              <a:t>Training needs analysis</a:t>
            </a:r>
            <a:endParaRPr lang="ko-KR" altLang="en-US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6893" name="TextBox 72">
            <a:extLst>
              <a:ext uri="{FF2B5EF4-FFF2-40B4-BE49-F238E27FC236}">
                <a16:creationId xmlns:a16="http://schemas.microsoft.com/office/drawing/2014/main" id="{BDE41DD0-535A-4C1F-77C4-0B60C7AA21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08888" y="3440113"/>
            <a:ext cx="2990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ko-KR" sz="1400" b="1">
                <a:solidFill>
                  <a:schemeClr val="bg1"/>
                </a:solidFill>
                <a:cs typeface="Arial" panose="020B0604020202020204" pitchFamily="34" charset="0"/>
              </a:rPr>
              <a:t>Training Program</a:t>
            </a:r>
            <a:endParaRPr lang="ko-KR" altLang="en-US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6894" name="TextBox 73">
            <a:extLst>
              <a:ext uri="{FF2B5EF4-FFF2-40B4-BE49-F238E27FC236}">
                <a16:creationId xmlns:a16="http://schemas.microsoft.com/office/drawing/2014/main" id="{EC99AD57-3516-6B7B-72A3-3431EF68D5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08888" y="4422775"/>
            <a:ext cx="2990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ko-KR" sz="1400" b="1">
                <a:solidFill>
                  <a:schemeClr val="bg1"/>
                </a:solidFill>
                <a:cs typeface="Arial" panose="020B0604020202020204" pitchFamily="34" charset="0"/>
              </a:rPr>
              <a:t>Third Parties</a:t>
            </a:r>
            <a:endParaRPr lang="ko-KR" altLang="en-US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A39A307-69C9-8554-00C8-A83BF04A9079}"/>
              </a:ext>
            </a:extLst>
          </p:cNvPr>
          <p:cNvSpPr txBox="1"/>
          <p:nvPr/>
        </p:nvSpPr>
        <p:spPr>
          <a:xfrm>
            <a:off x="2743200" y="381000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ployer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891" name="Group 107">
            <a:extLst>
              <a:ext uri="{FF2B5EF4-FFF2-40B4-BE49-F238E27FC236}">
                <a16:creationId xmlns:a16="http://schemas.microsoft.com/office/drawing/2014/main" id="{BAF8B375-EFE0-0A5B-3C69-1304043469DA}"/>
              </a:ext>
            </a:extLst>
          </p:cNvPr>
          <p:cNvGrpSpPr>
            <a:grpSpLocks/>
          </p:cNvGrpSpPr>
          <p:nvPr/>
        </p:nvGrpSpPr>
        <p:grpSpPr bwMode="auto">
          <a:xfrm>
            <a:off x="265113" y="4840288"/>
            <a:ext cx="3255962" cy="1171575"/>
            <a:chOff x="803640" y="3362835"/>
            <a:chExt cx="2059657" cy="1171134"/>
          </a:xfrm>
        </p:grpSpPr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EFD5EDF1-498A-A152-0D06-28BC1DA3ECB3}"/>
                </a:ext>
              </a:extLst>
            </p:cNvPr>
            <p:cNvSpPr txBox="1"/>
            <p:nvPr/>
          </p:nvSpPr>
          <p:spPr>
            <a:xfrm>
              <a:off x="803640" y="3580240"/>
              <a:ext cx="2059657" cy="9537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Instructors must undergo practical activity at least every  2 years in the operation they are training on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.  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E510A3A7-8731-CED7-5850-5799CC682A4B}"/>
                </a:ext>
              </a:extLst>
            </p:cNvPr>
            <p:cNvSpPr txBox="1"/>
            <p:nvPr/>
          </p:nvSpPr>
          <p:spPr>
            <a:xfrm>
              <a:off x="803640" y="3362835"/>
              <a:ext cx="2059657" cy="30785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>
                <a:defRPr/>
              </a:pPr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Hands on job experience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37892" name="Group 110">
            <a:extLst>
              <a:ext uri="{FF2B5EF4-FFF2-40B4-BE49-F238E27FC236}">
                <a16:creationId xmlns:a16="http://schemas.microsoft.com/office/drawing/2014/main" id="{19B9FE70-0863-C780-8E45-570BB790B9F9}"/>
              </a:ext>
            </a:extLst>
          </p:cNvPr>
          <p:cNvGrpSpPr>
            <a:grpSpLocks/>
          </p:cNvGrpSpPr>
          <p:nvPr/>
        </p:nvGrpSpPr>
        <p:grpSpPr bwMode="auto">
          <a:xfrm>
            <a:off x="722313" y="1400175"/>
            <a:ext cx="2800350" cy="955675"/>
            <a:chOff x="803640" y="3362835"/>
            <a:chExt cx="2059657" cy="955691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C8D53062-4BA4-3E0E-0CDE-4B06D4236C85}"/>
                </a:ext>
              </a:extLst>
            </p:cNvPr>
            <p:cNvSpPr txBox="1"/>
            <p:nvPr/>
          </p:nvSpPr>
          <p:spPr>
            <a:xfrm>
              <a:off x="803640" y="3580327"/>
              <a:ext cx="2059657" cy="73819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rainers must be trained on an advanced proficiency level of Dangerous Goods.   </a:t>
              </a:r>
              <a:endPara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03BD6E77-5649-B9F6-9BFB-DFB6E0846B3C}"/>
                </a:ext>
              </a:extLst>
            </p:cNvPr>
            <p:cNvSpPr txBox="1"/>
            <p:nvPr/>
          </p:nvSpPr>
          <p:spPr>
            <a:xfrm>
              <a:off x="803640" y="3362835"/>
              <a:ext cx="2059657" cy="30798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>
                <a:defRPr/>
              </a:pPr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raining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37893" name="Group 113">
            <a:extLst>
              <a:ext uri="{FF2B5EF4-FFF2-40B4-BE49-F238E27FC236}">
                <a16:creationId xmlns:a16="http://schemas.microsoft.com/office/drawing/2014/main" id="{FA062E7D-2E4D-5AEB-F086-0ACEC20693E9}"/>
              </a:ext>
            </a:extLst>
          </p:cNvPr>
          <p:cNvGrpSpPr>
            <a:grpSpLocks/>
          </p:cNvGrpSpPr>
          <p:nvPr/>
        </p:nvGrpSpPr>
        <p:grpSpPr bwMode="auto">
          <a:xfrm>
            <a:off x="8429625" y="2259013"/>
            <a:ext cx="2792413" cy="1171575"/>
            <a:chOff x="803640" y="3362835"/>
            <a:chExt cx="2059657" cy="1171134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BA1BBF0D-4FF7-5A28-CCAA-6892094F930E}"/>
                </a:ext>
              </a:extLst>
            </p:cNvPr>
            <p:cNvSpPr txBox="1"/>
            <p:nvPr/>
          </p:nvSpPr>
          <p:spPr>
            <a:xfrm>
              <a:off x="803640" y="3580240"/>
              <a:ext cx="2059657" cy="9537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rainer must be accredited by after undergoing internal processes. (observe, interact and lead)</a:t>
              </a:r>
              <a:endPara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F9B27991-5AB1-B77C-0378-CE82C9E304DA}"/>
                </a:ext>
              </a:extLst>
            </p:cNvPr>
            <p:cNvSpPr txBox="1"/>
            <p:nvPr/>
          </p:nvSpPr>
          <p:spPr>
            <a:xfrm>
              <a:off x="803640" y="3362835"/>
              <a:ext cx="2059657" cy="30785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ccreditation 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37894" name="Group 116">
            <a:extLst>
              <a:ext uri="{FF2B5EF4-FFF2-40B4-BE49-F238E27FC236}">
                <a16:creationId xmlns:a16="http://schemas.microsoft.com/office/drawing/2014/main" id="{6B566E46-56DD-0849-035B-D30894010366}"/>
              </a:ext>
            </a:extLst>
          </p:cNvPr>
          <p:cNvGrpSpPr>
            <a:grpSpLocks/>
          </p:cNvGrpSpPr>
          <p:nvPr/>
        </p:nvGrpSpPr>
        <p:grpSpPr bwMode="auto">
          <a:xfrm>
            <a:off x="8429625" y="3979863"/>
            <a:ext cx="2792413" cy="1387475"/>
            <a:chOff x="803640" y="3362835"/>
            <a:chExt cx="2059657" cy="1386578"/>
          </a:xfrm>
        </p:grpSpPr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B6AECE5-0BDD-4FAF-E6CE-5EA747846496}"/>
                </a:ext>
              </a:extLst>
            </p:cNvPr>
            <p:cNvSpPr txBox="1"/>
            <p:nvPr/>
          </p:nvSpPr>
          <p:spPr>
            <a:xfrm>
              <a:off x="803640" y="3580181"/>
              <a:ext cx="2059657" cy="11692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Instructor must be trained on an instructional program. In South Africa:</a:t>
              </a:r>
            </a:p>
            <a:p>
              <a:pPr marL="228600" indent="-228600">
                <a:buFontTx/>
                <a:buAutoNum type="arabicPeriod"/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rain the trainer</a:t>
              </a:r>
            </a:p>
            <a:p>
              <a:pPr marL="228600" indent="-228600">
                <a:buFontTx/>
                <a:buAutoNum type="arabicPeriod"/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ssessor training 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4C802DEF-B04C-CC98-6DC8-821B013D8F47}"/>
                </a:ext>
              </a:extLst>
            </p:cNvPr>
            <p:cNvSpPr txBox="1"/>
            <p:nvPr/>
          </p:nvSpPr>
          <p:spPr>
            <a:xfrm>
              <a:off x="803640" y="3362835"/>
              <a:ext cx="2059657" cy="30777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Instructional training program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37895" name="Group 119">
            <a:extLst>
              <a:ext uri="{FF2B5EF4-FFF2-40B4-BE49-F238E27FC236}">
                <a16:creationId xmlns:a16="http://schemas.microsoft.com/office/drawing/2014/main" id="{75B20F3E-067F-A43F-4FB1-C29FE0712D63}"/>
              </a:ext>
            </a:extLst>
          </p:cNvPr>
          <p:cNvGrpSpPr>
            <a:grpSpLocks/>
          </p:cNvGrpSpPr>
          <p:nvPr/>
        </p:nvGrpSpPr>
        <p:grpSpPr bwMode="auto">
          <a:xfrm>
            <a:off x="720725" y="3119438"/>
            <a:ext cx="3255963" cy="1589087"/>
            <a:chOff x="803640" y="3362835"/>
            <a:chExt cx="2059657" cy="1602022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45176044-D25B-3263-8536-BA977F854576}"/>
                </a:ext>
              </a:extLst>
            </p:cNvPr>
            <p:cNvSpPr txBox="1"/>
            <p:nvPr/>
          </p:nvSpPr>
          <p:spPr>
            <a:xfrm>
              <a:off x="803640" y="3580492"/>
              <a:ext cx="2059657" cy="138436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Minimum 3 years working knowledge and experience in dangerous goods and safety operations or cargo operations, including function they are training on..   </a:t>
              </a:r>
              <a:endPara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B9DD4874-4A7D-0074-CA63-5D04FF2A575D}"/>
                </a:ext>
              </a:extLst>
            </p:cNvPr>
            <p:cNvSpPr txBox="1"/>
            <p:nvPr/>
          </p:nvSpPr>
          <p:spPr>
            <a:xfrm>
              <a:off x="803640" y="3362835"/>
              <a:ext cx="2059657" cy="30728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>
                <a:defRPr/>
              </a:pPr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Experience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cxnSp>
        <p:nvCxnSpPr>
          <p:cNvPr id="123" name="Elbow Connector 47">
            <a:extLst>
              <a:ext uri="{FF2B5EF4-FFF2-40B4-BE49-F238E27FC236}">
                <a16:creationId xmlns:a16="http://schemas.microsoft.com/office/drawing/2014/main" id="{DDCD5543-D05A-F168-5707-8723A974DB19}"/>
              </a:ext>
            </a:extLst>
          </p:cNvPr>
          <p:cNvCxnSpPr>
            <a:cxnSpLocks/>
            <a:endCxn id="122" idx="3"/>
          </p:cNvCxnSpPr>
          <p:nvPr/>
        </p:nvCxnSpPr>
        <p:spPr>
          <a:xfrm rot="10800000">
            <a:off x="3976688" y="3271838"/>
            <a:ext cx="2000250" cy="750887"/>
          </a:xfrm>
          <a:prstGeom prst="bentConnector3">
            <a:avLst>
              <a:gd name="adj1" fmla="val 50000"/>
            </a:avLst>
          </a:prstGeom>
          <a:ln w="25400">
            <a:solidFill>
              <a:schemeClr val="accent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Elbow Connector 50">
            <a:extLst>
              <a:ext uri="{FF2B5EF4-FFF2-40B4-BE49-F238E27FC236}">
                <a16:creationId xmlns:a16="http://schemas.microsoft.com/office/drawing/2014/main" id="{130A86E5-8CBF-70BE-13AA-0FE4E0FE81AC}"/>
              </a:ext>
            </a:extLst>
          </p:cNvPr>
          <p:cNvCxnSpPr>
            <a:cxnSpLocks/>
            <a:endCxn id="113" idx="3"/>
          </p:cNvCxnSpPr>
          <p:nvPr/>
        </p:nvCxnSpPr>
        <p:spPr>
          <a:xfrm rot="10800000">
            <a:off x="3522663" y="1554163"/>
            <a:ext cx="2454275" cy="630237"/>
          </a:xfrm>
          <a:prstGeom prst="bentConnector3">
            <a:avLst>
              <a:gd name="adj1" fmla="val 50000"/>
            </a:avLst>
          </a:prstGeom>
          <a:ln w="25400">
            <a:solidFill>
              <a:schemeClr val="accent3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898" name="그룹 17">
            <a:extLst>
              <a:ext uri="{FF2B5EF4-FFF2-40B4-BE49-F238E27FC236}">
                <a16:creationId xmlns:a16="http://schemas.microsoft.com/office/drawing/2014/main" id="{AFEC7941-A937-8DA6-5BAA-A95746505B7C}"/>
              </a:ext>
            </a:extLst>
          </p:cNvPr>
          <p:cNvGrpSpPr>
            <a:grpSpLocks/>
          </p:cNvGrpSpPr>
          <p:nvPr/>
        </p:nvGrpSpPr>
        <p:grpSpPr bwMode="auto">
          <a:xfrm>
            <a:off x="4276725" y="1335088"/>
            <a:ext cx="3460750" cy="4908550"/>
            <a:chOff x="4391588" y="1699505"/>
            <a:chExt cx="3461258" cy="4909284"/>
          </a:xfrm>
        </p:grpSpPr>
        <p:sp>
          <p:nvSpPr>
            <p:cNvPr id="126" name="Trapezoid 22">
              <a:extLst>
                <a:ext uri="{FF2B5EF4-FFF2-40B4-BE49-F238E27FC236}">
                  <a16:creationId xmlns:a16="http://schemas.microsoft.com/office/drawing/2014/main" id="{0B226E7B-BF86-856B-EFDE-15E7E4985542}"/>
                </a:ext>
              </a:extLst>
            </p:cNvPr>
            <p:cNvSpPr/>
            <p:nvPr/>
          </p:nvSpPr>
          <p:spPr>
            <a:xfrm>
              <a:off x="4391588" y="4973419"/>
              <a:ext cx="2156141" cy="1635370"/>
            </a:xfrm>
            <a:custGeom>
              <a:avLst/>
              <a:gdLst/>
              <a:ahLst/>
              <a:cxnLst/>
              <a:rect l="l" t="t" r="r" b="b"/>
              <a:pathLst>
                <a:path w="2156118" h="1634641">
                  <a:moveTo>
                    <a:pt x="558525" y="0"/>
                  </a:moveTo>
                  <a:cubicBezTo>
                    <a:pt x="815259" y="90400"/>
                    <a:pt x="1107060" y="140890"/>
                    <a:pt x="1416381" y="140890"/>
                  </a:cubicBezTo>
                  <a:lnTo>
                    <a:pt x="1507965" y="136242"/>
                  </a:lnTo>
                  <a:cubicBezTo>
                    <a:pt x="1571260" y="753781"/>
                    <a:pt x="1813208" y="1287759"/>
                    <a:pt x="2156118" y="1627939"/>
                  </a:cubicBezTo>
                  <a:lnTo>
                    <a:pt x="742586" y="1634641"/>
                  </a:lnTo>
                  <a:lnTo>
                    <a:pt x="783473" y="1482794"/>
                  </a:lnTo>
                  <a:cubicBezTo>
                    <a:pt x="735436" y="1526015"/>
                    <a:pt x="755164" y="1524973"/>
                    <a:pt x="696702" y="1536226"/>
                  </a:cubicBezTo>
                  <a:lnTo>
                    <a:pt x="360265" y="1531873"/>
                  </a:lnTo>
                  <a:cubicBezTo>
                    <a:pt x="91900" y="1475400"/>
                    <a:pt x="78958" y="1364828"/>
                    <a:pt x="859" y="1187861"/>
                  </a:cubicBezTo>
                  <a:cubicBezTo>
                    <a:pt x="-5078" y="1012055"/>
                    <a:pt x="20262" y="959203"/>
                    <a:pt x="61239" y="837496"/>
                  </a:cubicBezTo>
                  <a:lnTo>
                    <a:pt x="182001" y="766286"/>
                  </a:lnTo>
                  <a:cubicBezTo>
                    <a:pt x="259540" y="604620"/>
                    <a:pt x="389206" y="374100"/>
                    <a:pt x="466746" y="340305"/>
                  </a:cubicBezTo>
                  <a:cubicBezTo>
                    <a:pt x="464918" y="303795"/>
                    <a:pt x="439632" y="264826"/>
                    <a:pt x="461262" y="230774"/>
                  </a:cubicBezTo>
                  <a:cubicBezTo>
                    <a:pt x="491633" y="197339"/>
                    <a:pt x="501153" y="210624"/>
                    <a:pt x="526312" y="196860"/>
                  </a:cubicBezTo>
                  <a:lnTo>
                    <a:pt x="515073" y="140661"/>
                  </a:lnTo>
                  <a:cubicBezTo>
                    <a:pt x="552756" y="107515"/>
                    <a:pt x="530493" y="133386"/>
                    <a:pt x="560358" y="8794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1"/>
            </a:p>
          </p:txBody>
        </p:sp>
        <p:sp>
          <p:nvSpPr>
            <p:cNvPr id="127" name="Trapezoid 22">
              <a:extLst>
                <a:ext uri="{FF2B5EF4-FFF2-40B4-BE49-F238E27FC236}">
                  <a16:creationId xmlns:a16="http://schemas.microsoft.com/office/drawing/2014/main" id="{5829A372-E90B-1611-86B3-7DF50BC107DD}"/>
                </a:ext>
              </a:extLst>
            </p:cNvPr>
            <p:cNvSpPr/>
            <p:nvPr/>
          </p:nvSpPr>
          <p:spPr>
            <a:xfrm>
              <a:off x="5539519" y="1699505"/>
              <a:ext cx="1759208" cy="1492473"/>
            </a:xfrm>
            <a:custGeom>
              <a:avLst/>
              <a:gdLst/>
              <a:ahLst/>
              <a:cxnLst/>
              <a:rect l="l" t="t" r="r" b="b"/>
              <a:pathLst>
                <a:path w="1759822" h="1491930">
                  <a:moveTo>
                    <a:pt x="879911" y="0"/>
                  </a:moveTo>
                  <a:lnTo>
                    <a:pt x="1759822" y="483755"/>
                  </a:lnTo>
                  <a:lnTo>
                    <a:pt x="1626857" y="556857"/>
                  </a:lnTo>
                  <a:lnTo>
                    <a:pt x="1626857" y="957160"/>
                  </a:lnTo>
                  <a:cubicBezTo>
                    <a:pt x="1647975" y="967781"/>
                    <a:pt x="1661924" y="989817"/>
                    <a:pt x="1661924" y="1015110"/>
                  </a:cubicBezTo>
                  <a:cubicBezTo>
                    <a:pt x="1661924" y="1040155"/>
                    <a:pt x="1648247" y="1062005"/>
                    <a:pt x="1627427" y="1072676"/>
                  </a:cubicBezTo>
                  <a:lnTo>
                    <a:pt x="1630074" y="1072676"/>
                  </a:lnTo>
                  <a:lnTo>
                    <a:pt x="1674046" y="1491930"/>
                  </a:lnTo>
                  <a:lnTo>
                    <a:pt x="1523254" y="1491930"/>
                  </a:lnTo>
                  <a:lnTo>
                    <a:pt x="1523254" y="1414835"/>
                  </a:lnTo>
                  <a:lnTo>
                    <a:pt x="1559141" y="1072676"/>
                  </a:lnTo>
                  <a:lnTo>
                    <a:pt x="1561788" y="1072676"/>
                  </a:lnTo>
                  <a:cubicBezTo>
                    <a:pt x="1540968" y="1062005"/>
                    <a:pt x="1527290" y="1040155"/>
                    <a:pt x="1527290" y="1015110"/>
                  </a:cubicBezTo>
                  <a:cubicBezTo>
                    <a:pt x="1527290" y="989817"/>
                    <a:pt x="1541240" y="967781"/>
                    <a:pt x="1562357" y="957160"/>
                  </a:cubicBezTo>
                  <a:lnTo>
                    <a:pt x="1562357" y="592318"/>
                  </a:lnTo>
                  <a:lnTo>
                    <a:pt x="1406686" y="756650"/>
                  </a:lnTo>
                  <a:lnTo>
                    <a:pt x="1406686" y="1027701"/>
                  </a:lnTo>
                  <a:cubicBezTo>
                    <a:pt x="1237521" y="1136357"/>
                    <a:pt x="1035980" y="1197630"/>
                    <a:pt x="820128" y="1197630"/>
                  </a:cubicBezTo>
                  <a:cubicBezTo>
                    <a:pt x="654913" y="1197630"/>
                    <a:pt x="498082" y="1161733"/>
                    <a:pt x="357461" y="1096324"/>
                  </a:cubicBezTo>
                  <a:cubicBezTo>
                    <a:pt x="358384" y="1092118"/>
                    <a:pt x="359913" y="1088133"/>
                    <a:pt x="361487" y="1084162"/>
                  </a:cubicBezTo>
                  <a:cubicBezTo>
                    <a:pt x="358803" y="1082831"/>
                    <a:pt x="355968" y="1082107"/>
                    <a:pt x="353136" y="1081396"/>
                  </a:cubicBezTo>
                  <a:lnTo>
                    <a:pt x="353136" y="756650"/>
                  </a:lnTo>
                  <a:lnTo>
                    <a:pt x="0" y="48375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1" dirty="0"/>
            </a:p>
          </p:txBody>
        </p:sp>
        <p:sp>
          <p:nvSpPr>
            <p:cNvPr id="128" name="Trapezoid 22">
              <a:extLst>
                <a:ext uri="{FF2B5EF4-FFF2-40B4-BE49-F238E27FC236}">
                  <a16:creationId xmlns:a16="http://schemas.microsoft.com/office/drawing/2014/main" id="{6F0E5C5C-378D-7DC6-F9FE-C112804493D6}"/>
                </a:ext>
              </a:extLst>
            </p:cNvPr>
            <p:cNvSpPr/>
            <p:nvPr/>
          </p:nvSpPr>
          <p:spPr>
            <a:xfrm>
              <a:off x="5785618" y="2779166"/>
              <a:ext cx="1290827" cy="1262251"/>
            </a:xfrm>
            <a:custGeom>
              <a:avLst/>
              <a:gdLst/>
              <a:ahLst/>
              <a:cxnLst/>
              <a:rect l="l" t="t" r="r" b="b"/>
              <a:pathLst>
                <a:path w="1291337" h="1262595">
                  <a:moveTo>
                    <a:pt x="1291337" y="387134"/>
                  </a:moveTo>
                  <a:lnTo>
                    <a:pt x="1291337" y="464229"/>
                  </a:lnTo>
                  <a:lnTo>
                    <a:pt x="1283251" y="464229"/>
                  </a:lnTo>
                  <a:close/>
                  <a:moveTo>
                    <a:pt x="1174769" y="0"/>
                  </a:moveTo>
                  <a:lnTo>
                    <a:pt x="1174769" y="18541"/>
                  </a:lnTo>
                  <a:lnTo>
                    <a:pt x="1163647" y="22750"/>
                  </a:lnTo>
                  <a:cubicBezTo>
                    <a:pt x="1220924" y="128978"/>
                    <a:pt x="1233895" y="263109"/>
                    <a:pt x="1204293" y="412060"/>
                  </a:cubicBezTo>
                  <a:cubicBezTo>
                    <a:pt x="1245921" y="411719"/>
                    <a:pt x="1282339" y="391704"/>
                    <a:pt x="1279660" y="482348"/>
                  </a:cubicBezTo>
                  <a:cubicBezTo>
                    <a:pt x="1271045" y="607334"/>
                    <a:pt x="1199876" y="781499"/>
                    <a:pt x="1157378" y="776155"/>
                  </a:cubicBezTo>
                  <a:cubicBezTo>
                    <a:pt x="1130754" y="771015"/>
                    <a:pt x="1114555" y="746201"/>
                    <a:pt x="1093142" y="731225"/>
                  </a:cubicBezTo>
                  <a:cubicBezTo>
                    <a:pt x="1057920" y="826172"/>
                    <a:pt x="1048762" y="930956"/>
                    <a:pt x="987476" y="1016066"/>
                  </a:cubicBezTo>
                  <a:lnTo>
                    <a:pt x="1080043" y="1097389"/>
                  </a:lnTo>
                  <a:cubicBezTo>
                    <a:pt x="1114436" y="1141334"/>
                    <a:pt x="1162490" y="1210866"/>
                    <a:pt x="1225666" y="1262595"/>
                  </a:cubicBezTo>
                  <a:cubicBezTo>
                    <a:pt x="974323" y="1220492"/>
                    <a:pt x="716748" y="1143359"/>
                    <a:pt x="462129" y="1031358"/>
                  </a:cubicBezTo>
                  <a:cubicBezTo>
                    <a:pt x="354612" y="984063"/>
                    <a:pt x="251323" y="932179"/>
                    <a:pt x="153638" y="874571"/>
                  </a:cubicBezTo>
                  <a:cubicBezTo>
                    <a:pt x="133161" y="823672"/>
                    <a:pt x="122381" y="764476"/>
                    <a:pt x="119504" y="688499"/>
                  </a:cubicBezTo>
                  <a:cubicBezTo>
                    <a:pt x="86110" y="702998"/>
                    <a:pt x="63141" y="722415"/>
                    <a:pt x="34959" y="621336"/>
                  </a:cubicBezTo>
                  <a:cubicBezTo>
                    <a:pt x="25584" y="567185"/>
                    <a:pt x="-54165" y="281884"/>
                    <a:pt x="64172" y="333473"/>
                  </a:cubicBezTo>
                  <a:cubicBezTo>
                    <a:pt x="80394" y="252314"/>
                    <a:pt x="91942" y="157335"/>
                    <a:pt x="125544" y="68623"/>
                  </a:cubicBezTo>
                  <a:cubicBezTo>
                    <a:pt x="266165" y="134032"/>
                    <a:pt x="422996" y="169929"/>
                    <a:pt x="588211" y="169929"/>
                  </a:cubicBezTo>
                  <a:cubicBezTo>
                    <a:pt x="804063" y="169929"/>
                    <a:pt x="1005604" y="108656"/>
                    <a:pt x="117476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1"/>
            </a:p>
          </p:txBody>
        </p:sp>
        <p:sp>
          <p:nvSpPr>
            <p:cNvPr id="129" name="Trapezoid 22">
              <a:extLst>
                <a:ext uri="{FF2B5EF4-FFF2-40B4-BE49-F238E27FC236}">
                  <a16:creationId xmlns:a16="http://schemas.microsoft.com/office/drawing/2014/main" id="{EC19D67C-30C8-D670-F7B0-DF18BD0C1785}"/>
                </a:ext>
              </a:extLst>
            </p:cNvPr>
            <p:cNvSpPr/>
            <p:nvPr/>
          </p:nvSpPr>
          <p:spPr>
            <a:xfrm>
              <a:off x="4972698" y="3698466"/>
              <a:ext cx="2580067" cy="1373393"/>
            </a:xfrm>
            <a:custGeom>
              <a:avLst/>
              <a:gdLst/>
              <a:ahLst/>
              <a:cxnLst/>
              <a:rect l="l" t="t" r="r" b="b"/>
              <a:pathLst>
                <a:path w="2580757" h="1374688">
                  <a:moveTo>
                    <a:pt x="964280" y="0"/>
                  </a:moveTo>
                  <a:cubicBezTo>
                    <a:pt x="1061964" y="57608"/>
                    <a:pt x="1165254" y="109492"/>
                    <a:pt x="1272771" y="156787"/>
                  </a:cubicBezTo>
                  <a:cubicBezTo>
                    <a:pt x="1527390" y="268789"/>
                    <a:pt x="1784965" y="345921"/>
                    <a:pt x="2036307" y="388024"/>
                  </a:cubicBezTo>
                  <a:cubicBezTo>
                    <a:pt x="2071170" y="421655"/>
                    <a:pt x="2112399" y="447822"/>
                    <a:pt x="2158337" y="459740"/>
                  </a:cubicBezTo>
                  <a:cubicBezTo>
                    <a:pt x="2299568" y="498279"/>
                    <a:pt x="2455123" y="549367"/>
                    <a:pt x="2580757" y="609405"/>
                  </a:cubicBezTo>
                  <a:cubicBezTo>
                    <a:pt x="2295218" y="1059447"/>
                    <a:pt x="1631701" y="1374688"/>
                    <a:pt x="858792" y="1374688"/>
                  </a:cubicBezTo>
                  <a:cubicBezTo>
                    <a:pt x="549471" y="1374688"/>
                    <a:pt x="257670" y="1324198"/>
                    <a:pt x="936" y="1233798"/>
                  </a:cubicBezTo>
                  <a:lnTo>
                    <a:pt x="0" y="1188902"/>
                  </a:lnTo>
                  <a:cubicBezTo>
                    <a:pt x="23602" y="1159565"/>
                    <a:pt x="28959" y="1162194"/>
                    <a:pt x="70806" y="1100888"/>
                  </a:cubicBezTo>
                  <a:cubicBezTo>
                    <a:pt x="94879" y="1029148"/>
                    <a:pt x="100707" y="851670"/>
                    <a:pt x="174300" y="779930"/>
                  </a:cubicBezTo>
                  <a:cubicBezTo>
                    <a:pt x="218445" y="717189"/>
                    <a:pt x="304292" y="723303"/>
                    <a:pt x="369289" y="694990"/>
                  </a:cubicBezTo>
                  <a:cubicBezTo>
                    <a:pt x="589400" y="620074"/>
                    <a:pt x="783446" y="599257"/>
                    <a:pt x="1000951" y="509587"/>
                  </a:cubicBezTo>
                  <a:cubicBezTo>
                    <a:pt x="1031594" y="492835"/>
                    <a:pt x="1046599" y="439197"/>
                    <a:pt x="1082454" y="329000"/>
                  </a:cubicBezTo>
                  <a:lnTo>
                    <a:pt x="1075069" y="182531"/>
                  </a:lnTo>
                  <a:cubicBezTo>
                    <a:pt x="1024247" y="121488"/>
                    <a:pt x="986720" y="67500"/>
                    <a:pt x="96428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1"/>
            </a:p>
          </p:txBody>
        </p:sp>
        <p:sp>
          <p:nvSpPr>
            <p:cNvPr id="130" name="Trapezoid 22">
              <a:extLst>
                <a:ext uri="{FF2B5EF4-FFF2-40B4-BE49-F238E27FC236}">
                  <a16:creationId xmlns:a16="http://schemas.microsoft.com/office/drawing/2014/main" id="{C283D3C1-AB33-D9C6-3577-0A1E5226ADFA}"/>
                </a:ext>
              </a:extLst>
            </p:cNvPr>
            <p:cNvSpPr/>
            <p:nvPr/>
          </p:nvSpPr>
          <p:spPr>
            <a:xfrm>
              <a:off x="5952330" y="4355789"/>
              <a:ext cx="1900516" cy="2253000"/>
            </a:xfrm>
            <a:custGeom>
              <a:avLst/>
              <a:gdLst/>
              <a:ahLst/>
              <a:cxnLst/>
              <a:rect l="l" t="t" r="r" b="b"/>
              <a:pathLst>
                <a:path w="1900861" h="2252332">
                  <a:moveTo>
                    <a:pt x="1630381" y="0"/>
                  </a:moveTo>
                  <a:cubicBezTo>
                    <a:pt x="1705290" y="35739"/>
                    <a:pt x="1769558" y="74677"/>
                    <a:pt x="1813833" y="116016"/>
                  </a:cubicBezTo>
                  <a:cubicBezTo>
                    <a:pt x="1941182" y="366789"/>
                    <a:pt x="1891300" y="374114"/>
                    <a:pt x="1890938" y="588002"/>
                  </a:cubicBezTo>
                  <a:cubicBezTo>
                    <a:pt x="1844475" y="751802"/>
                    <a:pt x="1881417" y="817240"/>
                    <a:pt x="1842774" y="963827"/>
                  </a:cubicBezTo>
                  <a:cubicBezTo>
                    <a:pt x="1790990" y="1152321"/>
                    <a:pt x="1728781" y="1244911"/>
                    <a:pt x="1679604" y="1347337"/>
                  </a:cubicBezTo>
                  <a:cubicBezTo>
                    <a:pt x="1619658" y="1492268"/>
                    <a:pt x="1640509" y="1521624"/>
                    <a:pt x="1624871" y="1600160"/>
                  </a:cubicBezTo>
                  <a:lnTo>
                    <a:pt x="1567097" y="1638481"/>
                  </a:lnTo>
                  <a:cubicBezTo>
                    <a:pt x="1592202" y="1734503"/>
                    <a:pt x="1580816" y="1732164"/>
                    <a:pt x="1585070" y="1810973"/>
                  </a:cubicBezTo>
                  <a:cubicBezTo>
                    <a:pt x="1547567" y="1894683"/>
                    <a:pt x="1541341" y="1914458"/>
                    <a:pt x="1519477" y="1978496"/>
                  </a:cubicBezTo>
                  <a:lnTo>
                    <a:pt x="1557486" y="2248020"/>
                  </a:lnTo>
                  <a:lnTo>
                    <a:pt x="648153" y="2252332"/>
                  </a:lnTo>
                  <a:cubicBezTo>
                    <a:pt x="305243" y="1912152"/>
                    <a:pt x="63295" y="1378174"/>
                    <a:pt x="0" y="760635"/>
                  </a:cubicBezTo>
                  <a:cubicBezTo>
                    <a:pt x="733507" y="739994"/>
                    <a:pt x="1356200" y="432143"/>
                    <a:pt x="163038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2701" dirty="0"/>
            </a:p>
          </p:txBody>
        </p:sp>
        <p:sp>
          <p:nvSpPr>
            <p:cNvPr id="37908" name="TextBox 130">
              <a:extLst>
                <a:ext uri="{FF2B5EF4-FFF2-40B4-BE49-F238E27FC236}">
                  <a16:creationId xmlns:a16="http://schemas.microsoft.com/office/drawing/2014/main" id="{7229EC82-1B3E-A64E-CA41-DA33B2D4DA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09567" y="2267849"/>
              <a:ext cx="444353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en-US" altLang="ko-KR" sz="2000" b="1">
                  <a:solidFill>
                    <a:schemeClr val="bg1"/>
                  </a:solidFill>
                  <a:cs typeface="Arial" panose="020B0604020202020204" pitchFamily="34" charset="0"/>
                </a:rPr>
                <a:t>01</a:t>
              </a:r>
              <a:endParaRPr lang="ko-KR" altLang="en-US" sz="2000" b="1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909" name="TextBox 131">
              <a:extLst>
                <a:ext uri="{FF2B5EF4-FFF2-40B4-BE49-F238E27FC236}">
                  <a16:creationId xmlns:a16="http://schemas.microsoft.com/office/drawing/2014/main" id="{7B54D580-0643-95B6-ABE3-06CFD13ACE6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88475" y="3128963"/>
              <a:ext cx="444353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en-US" altLang="ko-KR" sz="2000" b="1">
                  <a:solidFill>
                    <a:schemeClr val="bg1"/>
                  </a:solidFill>
                  <a:cs typeface="Arial" panose="020B0604020202020204" pitchFamily="34" charset="0"/>
                </a:rPr>
                <a:t>02</a:t>
              </a:r>
              <a:endParaRPr lang="ko-KR" altLang="en-US" sz="2000" b="1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910" name="TextBox 132">
              <a:extLst>
                <a:ext uri="{FF2B5EF4-FFF2-40B4-BE49-F238E27FC236}">
                  <a16:creationId xmlns:a16="http://schemas.microsoft.com/office/drawing/2014/main" id="{7448C6FE-78DA-1FEE-7930-4C5927862B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86651" y="4404596"/>
              <a:ext cx="444353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en-US" altLang="ko-KR" sz="2000" b="1">
                  <a:solidFill>
                    <a:schemeClr val="bg1"/>
                  </a:solidFill>
                  <a:cs typeface="Arial" panose="020B0604020202020204" pitchFamily="34" charset="0"/>
                </a:rPr>
                <a:t>03</a:t>
              </a:r>
              <a:endParaRPr lang="ko-KR" altLang="en-US" sz="2000" b="1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911" name="TextBox 133">
              <a:extLst>
                <a:ext uri="{FF2B5EF4-FFF2-40B4-BE49-F238E27FC236}">
                  <a16:creationId xmlns:a16="http://schemas.microsoft.com/office/drawing/2014/main" id="{6DA88E34-353B-DA2B-92E2-DE59B554CB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60297" y="5591413"/>
              <a:ext cx="444353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en-US" altLang="ko-KR" sz="2000" b="1">
                  <a:solidFill>
                    <a:schemeClr val="bg1"/>
                  </a:solidFill>
                  <a:cs typeface="Arial" panose="020B0604020202020204" pitchFamily="34" charset="0"/>
                </a:rPr>
                <a:t>05</a:t>
              </a:r>
              <a:endParaRPr lang="ko-KR" altLang="en-US" sz="2000" b="1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912" name="TextBox 134">
              <a:extLst>
                <a:ext uri="{FF2B5EF4-FFF2-40B4-BE49-F238E27FC236}">
                  <a16:creationId xmlns:a16="http://schemas.microsoft.com/office/drawing/2014/main" id="{A9D3DF67-9269-A8FC-CE0F-39CAC986FFB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32775" y="5391358"/>
              <a:ext cx="444353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en-US" altLang="ko-KR" sz="2000" b="1">
                  <a:solidFill>
                    <a:schemeClr val="bg1"/>
                  </a:solidFill>
                  <a:cs typeface="Arial" panose="020B0604020202020204" pitchFamily="34" charset="0"/>
                </a:rPr>
                <a:t>04</a:t>
              </a:r>
              <a:endParaRPr lang="ko-KR" altLang="en-US" sz="2000" b="1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cxnSp>
        <p:nvCxnSpPr>
          <p:cNvPr id="136" name="Elbow Connector 51">
            <a:extLst>
              <a:ext uri="{FF2B5EF4-FFF2-40B4-BE49-F238E27FC236}">
                <a16:creationId xmlns:a16="http://schemas.microsoft.com/office/drawing/2014/main" id="{2C2F326A-E8E1-FB73-F81D-6453E3FD897C}"/>
              </a:ext>
            </a:extLst>
          </p:cNvPr>
          <p:cNvCxnSpPr>
            <a:cxnSpLocks/>
            <a:endCxn id="116" idx="1"/>
          </p:cNvCxnSpPr>
          <p:nvPr/>
        </p:nvCxnSpPr>
        <p:spPr>
          <a:xfrm flipV="1">
            <a:off x="6751638" y="2413000"/>
            <a:ext cx="1677987" cy="650875"/>
          </a:xfrm>
          <a:prstGeom prst="bentConnector3">
            <a:avLst/>
          </a:prstGeom>
          <a:ln w="25400">
            <a:solidFill>
              <a:schemeClr val="accent2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Elbow Connector 53">
            <a:extLst>
              <a:ext uri="{FF2B5EF4-FFF2-40B4-BE49-F238E27FC236}">
                <a16:creationId xmlns:a16="http://schemas.microsoft.com/office/drawing/2014/main" id="{B281FB34-2F82-D6CB-D51A-8E158B9D79E8}"/>
              </a:ext>
            </a:extLst>
          </p:cNvPr>
          <p:cNvCxnSpPr>
            <a:cxnSpLocks/>
            <a:endCxn id="110" idx="3"/>
          </p:cNvCxnSpPr>
          <p:nvPr/>
        </p:nvCxnSpPr>
        <p:spPr>
          <a:xfrm rot="10800000">
            <a:off x="3521075" y="4994275"/>
            <a:ext cx="1047750" cy="460375"/>
          </a:xfrm>
          <a:prstGeom prst="bentConnector3">
            <a:avLst/>
          </a:prstGeom>
          <a:ln w="25400">
            <a:solidFill>
              <a:schemeClr val="accent6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Elbow Connector 65">
            <a:extLst>
              <a:ext uri="{FF2B5EF4-FFF2-40B4-BE49-F238E27FC236}">
                <a16:creationId xmlns:a16="http://schemas.microsoft.com/office/drawing/2014/main" id="{6D90E5BF-8EEA-8FC4-C840-8DB78B34B144}"/>
              </a:ext>
            </a:extLst>
          </p:cNvPr>
          <p:cNvCxnSpPr>
            <a:cxnSpLocks/>
            <a:endCxn id="119" idx="1"/>
          </p:cNvCxnSpPr>
          <p:nvPr/>
        </p:nvCxnSpPr>
        <p:spPr>
          <a:xfrm flipV="1">
            <a:off x="7194550" y="4133850"/>
            <a:ext cx="1235075" cy="1092200"/>
          </a:xfrm>
          <a:prstGeom prst="bentConnector3">
            <a:avLst>
              <a:gd name="adj1" fmla="val 50000"/>
            </a:avLst>
          </a:prstGeom>
          <a:ln w="25400">
            <a:solidFill>
              <a:schemeClr val="accent4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3D4812C-1B22-8CDF-CB68-CBF51735405C}"/>
              </a:ext>
            </a:extLst>
          </p:cNvPr>
          <p:cNvSpPr txBox="1"/>
          <p:nvPr/>
        </p:nvSpPr>
        <p:spPr>
          <a:xfrm>
            <a:off x="2928938" y="33593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iners/Instructors 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3">
            <a:extLst>
              <a:ext uri="{FF2B5EF4-FFF2-40B4-BE49-F238E27FC236}">
                <a16:creationId xmlns:a16="http://schemas.microsoft.com/office/drawing/2014/main" id="{128E48B1-C6D9-38F2-76CD-B483F8D5E0D1}"/>
              </a:ext>
            </a:extLst>
          </p:cNvPr>
          <p:cNvGrpSpPr/>
          <p:nvPr/>
        </p:nvGrpSpPr>
        <p:grpSpPr>
          <a:xfrm rot="2749472">
            <a:off x="4932727" y="2170705"/>
            <a:ext cx="2803975" cy="2821020"/>
            <a:chOff x="3655139" y="2262242"/>
            <a:chExt cx="2102981" cy="2115765"/>
          </a:xfrm>
          <a:solidFill>
            <a:schemeClr val="accent1"/>
          </a:solidFill>
          <a:effectLst>
            <a:outerShdw blurRad="152400" dist="8890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37" name="Cube 36">
              <a:extLst>
                <a:ext uri="{FF2B5EF4-FFF2-40B4-BE49-F238E27FC236}">
                  <a16:creationId xmlns:a16="http://schemas.microsoft.com/office/drawing/2014/main" id="{C91F50CC-2AB4-9FA7-82FC-F6741A6EC7C0}"/>
                </a:ext>
              </a:extLst>
            </p:cNvPr>
            <p:cNvSpPr/>
            <p:nvPr/>
          </p:nvSpPr>
          <p:spPr>
            <a:xfrm>
              <a:off x="3655139" y="2262242"/>
              <a:ext cx="1216152" cy="1216152"/>
            </a:xfrm>
            <a:prstGeom prst="cub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ZA" dirty="0">
                <a:solidFill>
                  <a:prstClr val="white"/>
                </a:solidFill>
              </a:endParaRPr>
            </a:p>
          </p:txBody>
        </p:sp>
        <p:sp>
          <p:nvSpPr>
            <p:cNvPr id="36" name="Cube 35">
              <a:extLst>
                <a:ext uri="{FF2B5EF4-FFF2-40B4-BE49-F238E27FC236}">
                  <a16:creationId xmlns:a16="http://schemas.microsoft.com/office/drawing/2014/main" id="{D45CB13D-5EBE-EFCC-100D-7B6D71F6A0C1}"/>
                </a:ext>
              </a:extLst>
            </p:cNvPr>
            <p:cNvSpPr/>
            <p:nvPr/>
          </p:nvSpPr>
          <p:spPr>
            <a:xfrm>
              <a:off x="4541966" y="3161855"/>
              <a:ext cx="1216152" cy="1216152"/>
            </a:xfrm>
            <a:prstGeom prst="cub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ZA" dirty="0">
                <a:solidFill>
                  <a:prstClr val="white"/>
                </a:solidFill>
              </a:endParaRPr>
            </a:p>
          </p:txBody>
        </p:sp>
        <p:sp>
          <p:nvSpPr>
            <p:cNvPr id="35" name="Cube 34">
              <a:extLst>
                <a:ext uri="{FF2B5EF4-FFF2-40B4-BE49-F238E27FC236}">
                  <a16:creationId xmlns:a16="http://schemas.microsoft.com/office/drawing/2014/main" id="{2924E286-F1ED-68E3-25DE-DDEC0221033E}"/>
                </a:ext>
              </a:extLst>
            </p:cNvPr>
            <p:cNvSpPr/>
            <p:nvPr/>
          </p:nvSpPr>
          <p:spPr>
            <a:xfrm>
              <a:off x="4541968" y="2262242"/>
              <a:ext cx="1216152" cy="1216152"/>
            </a:xfrm>
            <a:prstGeom prst="cub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ZA" dirty="0">
                <a:solidFill>
                  <a:prstClr val="white"/>
                </a:solidFill>
              </a:endParaRPr>
            </a:p>
          </p:txBody>
        </p:sp>
      </p:grpSp>
      <p:sp>
        <p:nvSpPr>
          <p:cNvPr id="15" name="1">
            <a:extLst>
              <a:ext uri="{FF2B5EF4-FFF2-40B4-BE49-F238E27FC236}">
                <a16:creationId xmlns:a16="http://schemas.microsoft.com/office/drawing/2014/main" id="{76B665AE-E82B-4283-E591-4B83B144663B}"/>
              </a:ext>
            </a:extLst>
          </p:cNvPr>
          <p:cNvSpPr/>
          <p:nvPr/>
        </p:nvSpPr>
        <p:spPr>
          <a:xfrm rot="2701321">
            <a:off x="4733131" y="2758282"/>
            <a:ext cx="1622425" cy="1620838"/>
          </a:xfrm>
          <a:prstGeom prst="cub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dirty="0">
              <a:solidFill>
                <a:prstClr val="white"/>
              </a:solidFill>
            </a:endParaRPr>
          </a:p>
        </p:txBody>
      </p:sp>
      <p:grpSp>
        <p:nvGrpSpPr>
          <p:cNvPr id="17" name="2">
            <a:extLst>
              <a:ext uri="{FF2B5EF4-FFF2-40B4-BE49-F238E27FC236}">
                <a16:creationId xmlns:a16="http://schemas.microsoft.com/office/drawing/2014/main" id="{6D90922B-3AAE-9302-48CE-C24090A78EE1}"/>
              </a:ext>
            </a:extLst>
          </p:cNvPr>
          <p:cNvGrpSpPr/>
          <p:nvPr/>
        </p:nvGrpSpPr>
        <p:grpSpPr>
          <a:xfrm>
            <a:off x="4109527" y="1921265"/>
            <a:ext cx="2475427" cy="3320996"/>
            <a:chOff x="3743753" y="1518612"/>
            <a:chExt cx="1856570" cy="2490747"/>
          </a:xfrm>
          <a:solidFill>
            <a:schemeClr val="tx2"/>
          </a:solidFill>
          <a:effectLst>
            <a:outerShdw blurRad="152400" dist="8890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12" name="Cube 11">
              <a:extLst>
                <a:ext uri="{FF2B5EF4-FFF2-40B4-BE49-F238E27FC236}">
                  <a16:creationId xmlns:a16="http://schemas.microsoft.com/office/drawing/2014/main" id="{C599FF58-EE49-4DCA-D3E7-B5F275714195}"/>
                </a:ext>
              </a:extLst>
            </p:cNvPr>
            <p:cNvSpPr/>
            <p:nvPr/>
          </p:nvSpPr>
          <p:spPr>
            <a:xfrm rot="2701321">
              <a:off x="3743753" y="2152297"/>
              <a:ext cx="1216152" cy="1216152"/>
            </a:xfrm>
            <a:prstGeom prst="cub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ZA" dirty="0">
                <a:solidFill>
                  <a:prstClr val="white"/>
                </a:solidFill>
              </a:endParaRPr>
            </a:p>
          </p:txBody>
        </p:sp>
        <p:sp>
          <p:nvSpPr>
            <p:cNvPr id="13" name="Cube 12">
              <a:extLst>
                <a:ext uri="{FF2B5EF4-FFF2-40B4-BE49-F238E27FC236}">
                  <a16:creationId xmlns:a16="http://schemas.microsoft.com/office/drawing/2014/main" id="{0B4AEE26-338C-E71E-8AD9-F6EFDAA50809}"/>
                </a:ext>
              </a:extLst>
            </p:cNvPr>
            <p:cNvSpPr/>
            <p:nvPr/>
          </p:nvSpPr>
          <p:spPr>
            <a:xfrm rot="2701321">
              <a:off x="4384171" y="2793207"/>
              <a:ext cx="1216152" cy="1216152"/>
            </a:xfrm>
            <a:prstGeom prst="cub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ZA" dirty="0">
                <a:solidFill>
                  <a:prstClr val="white"/>
                </a:solidFill>
              </a:endParaRPr>
            </a:p>
          </p:txBody>
        </p:sp>
        <p:sp>
          <p:nvSpPr>
            <p:cNvPr id="14" name="Cube 13">
              <a:extLst>
                <a:ext uri="{FF2B5EF4-FFF2-40B4-BE49-F238E27FC236}">
                  <a16:creationId xmlns:a16="http://schemas.microsoft.com/office/drawing/2014/main" id="{0CBA70EB-46FE-EB57-1E1F-E74314A97C51}"/>
                </a:ext>
              </a:extLst>
            </p:cNvPr>
            <p:cNvSpPr/>
            <p:nvPr/>
          </p:nvSpPr>
          <p:spPr>
            <a:xfrm rot="2701321">
              <a:off x="4377925" y="1518612"/>
              <a:ext cx="1216152" cy="1216152"/>
            </a:xfrm>
            <a:prstGeom prst="cub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ZA" dirty="0">
                <a:solidFill>
                  <a:prstClr val="white"/>
                </a:solidFill>
              </a:endParaRPr>
            </a:p>
          </p:txBody>
        </p:sp>
      </p:grpSp>
      <p:sp>
        <p:nvSpPr>
          <p:cNvPr id="40" name="4">
            <a:extLst>
              <a:ext uri="{FF2B5EF4-FFF2-40B4-BE49-F238E27FC236}">
                <a16:creationId xmlns:a16="http://schemas.microsoft.com/office/drawing/2014/main" id="{7145F8C2-6C5B-BF8A-2698-0F3F4EF61989}"/>
              </a:ext>
            </a:extLst>
          </p:cNvPr>
          <p:cNvSpPr/>
          <p:nvPr/>
        </p:nvSpPr>
        <p:spPr>
          <a:xfrm rot="2701321">
            <a:off x="5833269" y="2790031"/>
            <a:ext cx="1620838" cy="1622425"/>
          </a:xfrm>
          <a:prstGeom prst="cub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dirty="0">
              <a:solidFill>
                <a:prstClr val="white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B54B7AC-0B56-41D2-A7C3-27AE0AE3A0F3}"/>
              </a:ext>
            </a:extLst>
          </p:cNvPr>
          <p:cNvSpPr txBox="1"/>
          <p:nvPr/>
        </p:nvSpPr>
        <p:spPr>
          <a:xfrm>
            <a:off x="661988" y="3876675"/>
            <a:ext cx="3721100" cy="1631950"/>
          </a:xfrm>
          <a:prstGeom prst="rect">
            <a:avLst/>
          </a:prstGeom>
          <a:noFill/>
        </p:spPr>
        <p:txBody>
          <a:bodyPr lIns="121917" tIns="60958" rIns="121917" bIns="60958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000" dirty="0">
                <a:solidFill>
                  <a:srgbClr val="464646"/>
                </a:solidFill>
                <a:cs typeface="Arial" panose="020B0604020202020204" pitchFamily="34" charset="0"/>
              </a:rPr>
              <a:t>May conduct Training and assessments in line with the employer’s approved training program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endParaRPr lang="en-ZA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32FBFC2-9353-BA73-8D80-BD92BEC653B4}"/>
              </a:ext>
            </a:extLst>
          </p:cNvPr>
          <p:cNvSpPr txBox="1"/>
          <p:nvPr/>
        </p:nvSpPr>
        <p:spPr>
          <a:xfrm>
            <a:off x="7826375" y="3783013"/>
            <a:ext cx="3721100" cy="1784350"/>
          </a:xfrm>
          <a:prstGeom prst="rect">
            <a:avLst/>
          </a:prstGeom>
          <a:noFill/>
        </p:spPr>
        <p:txBody>
          <a:bodyPr lIns="121917" tIns="60958" rIns="121917" bIns="60958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dirty="0">
              <a:solidFill>
                <a:srgbClr val="2DA2BF"/>
              </a:solidFill>
              <a:latin typeface="Calibri"/>
            </a:endParaRPr>
          </a:p>
          <a:p>
            <a:pPr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000" kern="0" dirty="0">
                <a:solidFill>
                  <a:srgbClr val="000000"/>
                </a:solidFill>
                <a:cs typeface="Arial" panose="020B0604020202020204" pitchFamily="34" charset="0"/>
              </a:rPr>
              <a:t>May be contracted to carry out employer responsibilities but a clear contractual agreement must be in place and the SACAA must be inform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AF9BD1-B74A-02AB-2C71-A833C5642B9A}"/>
              </a:ext>
            </a:extLst>
          </p:cNvPr>
          <p:cNvSpPr txBox="1"/>
          <p:nvPr/>
        </p:nvSpPr>
        <p:spPr>
          <a:xfrm>
            <a:off x="2725738" y="341313"/>
            <a:ext cx="6096000" cy="9239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  <a:buFont typeface="Arial" panose="020B0604020202020204" pitchFamily="34" charset="0"/>
              <a:buNone/>
              <a:defRPr/>
            </a:pPr>
            <a:r>
              <a:rPr lang="en-ZA" sz="5400" b="1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Third Parties</a:t>
            </a:r>
          </a:p>
        </p:txBody>
      </p:sp>
      <p:pic>
        <p:nvPicPr>
          <p:cNvPr id="38921" name="Picture 6" descr="Icon&#10;&#10;Description automatically generated">
            <a:extLst>
              <a:ext uri="{FF2B5EF4-FFF2-40B4-BE49-F238E27FC236}">
                <a16:creationId xmlns:a16="http://schemas.microsoft.com/office/drawing/2014/main" id="{319CA2CE-BECC-5DDD-05DB-B20127DBDA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3263" y="341313"/>
            <a:ext cx="2979737" cy="297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82">
            <a:extLst>
              <a:ext uri="{FF2B5EF4-FFF2-40B4-BE49-F238E27FC236}">
                <a16:creationId xmlns:a16="http://schemas.microsoft.com/office/drawing/2014/main" id="{B2542B5E-361A-5124-94F4-5168BA976387}"/>
              </a:ext>
            </a:extLst>
          </p:cNvPr>
          <p:cNvSpPr txBox="1"/>
          <p:nvPr/>
        </p:nvSpPr>
        <p:spPr>
          <a:xfrm>
            <a:off x="1057900" y="1213987"/>
            <a:ext cx="4114800" cy="584775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iation Training Organizatio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ffering Training </a:t>
            </a:r>
          </a:p>
        </p:txBody>
      </p:sp>
      <p:sp>
        <p:nvSpPr>
          <p:cNvPr id="9" name="Ellipse 24">
            <a:extLst>
              <a:ext uri="{FF2B5EF4-FFF2-40B4-BE49-F238E27FC236}">
                <a16:creationId xmlns:a16="http://schemas.microsoft.com/office/drawing/2014/main" id="{F75A4FAA-DA63-1F36-7693-71CC01927816}"/>
              </a:ext>
            </a:extLst>
          </p:cNvPr>
          <p:cNvSpPr/>
          <p:nvPr/>
        </p:nvSpPr>
        <p:spPr>
          <a:xfrm>
            <a:off x="509256" y="1306146"/>
            <a:ext cx="400456" cy="40045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0" name="TextBox 82">
            <a:extLst>
              <a:ext uri="{FF2B5EF4-FFF2-40B4-BE49-F238E27FC236}">
                <a16:creationId xmlns:a16="http://schemas.microsoft.com/office/drawing/2014/main" id="{827EEC57-DD22-3119-73FD-8D039BB595FA}"/>
              </a:ext>
            </a:extLst>
          </p:cNvPr>
          <p:cNvSpPr txBox="1"/>
          <p:nvPr/>
        </p:nvSpPr>
        <p:spPr>
          <a:xfrm>
            <a:off x="1089700" y="2218738"/>
            <a:ext cx="4114800" cy="584775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TOs or any independent organis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ffering assessment services</a:t>
            </a:r>
          </a:p>
        </p:txBody>
      </p:sp>
      <p:sp>
        <p:nvSpPr>
          <p:cNvPr id="11" name="Ellipse 29">
            <a:extLst>
              <a:ext uri="{FF2B5EF4-FFF2-40B4-BE49-F238E27FC236}">
                <a16:creationId xmlns:a16="http://schemas.microsoft.com/office/drawing/2014/main" id="{287CFBE4-A37D-0FEA-51EE-659F7043C9CB}"/>
              </a:ext>
            </a:extLst>
          </p:cNvPr>
          <p:cNvSpPr/>
          <p:nvPr/>
        </p:nvSpPr>
        <p:spPr>
          <a:xfrm>
            <a:off x="541056" y="2310897"/>
            <a:ext cx="400456" cy="40045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2" decel="10000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5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30" presetID="2" presetClass="entr" presetSubtype="8" decel="10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40" grpId="0" animBg="1"/>
      <p:bldP spid="41" grpId="0"/>
      <p:bldP spid="4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76" descr="A picture containing text, writing implement, stationary, pencil&#10;&#10;Description automatically generated">
            <a:extLst>
              <a:ext uri="{FF2B5EF4-FFF2-40B4-BE49-F238E27FC236}">
                <a16:creationId xmlns:a16="http://schemas.microsoft.com/office/drawing/2014/main" id="{3A9E793A-098C-57B8-C49D-A81C822B3D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0" y="1171575"/>
            <a:ext cx="4967288" cy="397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0965" name="Graphic 299">
            <a:extLst>
              <a:ext uri="{FF2B5EF4-FFF2-40B4-BE49-F238E27FC236}">
                <a16:creationId xmlns:a16="http://schemas.microsoft.com/office/drawing/2014/main" id="{320F75C1-222D-CF7F-3BC2-A94309A56FD0}"/>
              </a:ext>
            </a:extLst>
          </p:cNvPr>
          <p:cNvGrpSpPr>
            <a:grpSpLocks/>
          </p:cNvGrpSpPr>
          <p:nvPr/>
        </p:nvGrpSpPr>
        <p:grpSpPr bwMode="auto">
          <a:xfrm>
            <a:off x="6611938" y="1022350"/>
            <a:ext cx="5562600" cy="5327650"/>
            <a:chOff x="5671581" y="2568773"/>
            <a:chExt cx="3185568" cy="3050872"/>
          </a:xfrm>
        </p:grpSpPr>
        <p:sp>
          <p:nvSpPr>
            <p:cNvPr id="40982" name="Freeform: Shape 4">
              <a:extLst>
                <a:ext uri="{FF2B5EF4-FFF2-40B4-BE49-F238E27FC236}">
                  <a16:creationId xmlns:a16="http://schemas.microsoft.com/office/drawing/2014/main" id="{36248402-A5EC-3D74-D4E3-A7559F2F4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6229" y="2833114"/>
              <a:ext cx="803463" cy="419242"/>
            </a:xfrm>
            <a:custGeom>
              <a:avLst/>
              <a:gdLst>
                <a:gd name="T0" fmla="*/ 803464 w 803463"/>
                <a:gd name="T1" fmla="*/ 419242 h 419242"/>
                <a:gd name="T2" fmla="*/ 39735 w 803463"/>
                <a:gd name="T3" fmla="*/ 419242 h 419242"/>
                <a:gd name="T4" fmla="*/ 0 w 803463"/>
                <a:gd name="T5" fmla="*/ 379507 h 419242"/>
                <a:gd name="T6" fmla="*/ 0 w 803463"/>
                <a:gd name="T7" fmla="*/ 0 h 419242"/>
                <a:gd name="T8" fmla="*/ 803464 w 803463"/>
                <a:gd name="T9" fmla="*/ 0 h 419242"/>
                <a:gd name="T10" fmla="*/ 803464 w 803463"/>
                <a:gd name="T11" fmla="*/ 419242 h 41924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03463" h="419242">
                  <a:moveTo>
                    <a:pt x="803464" y="419242"/>
                  </a:moveTo>
                  <a:lnTo>
                    <a:pt x="39735" y="419242"/>
                  </a:lnTo>
                  <a:cubicBezTo>
                    <a:pt x="17847" y="419242"/>
                    <a:pt x="0" y="401395"/>
                    <a:pt x="0" y="379507"/>
                  </a:cubicBezTo>
                  <a:lnTo>
                    <a:pt x="0" y="0"/>
                  </a:lnTo>
                  <a:lnTo>
                    <a:pt x="803464" y="0"/>
                  </a:lnTo>
                  <a:lnTo>
                    <a:pt x="803464" y="419242"/>
                  </a:lnTo>
                  <a:close/>
                </a:path>
              </a:pathLst>
            </a:custGeom>
            <a:solidFill>
              <a:srgbClr val="313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0983" name="Freeform: Shape 5">
              <a:extLst>
                <a:ext uri="{FF2B5EF4-FFF2-40B4-BE49-F238E27FC236}">
                  <a16:creationId xmlns:a16="http://schemas.microsoft.com/office/drawing/2014/main" id="{EC9B4FC9-2650-3A86-1296-182D39BFF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7936" y="2568773"/>
              <a:ext cx="1562813" cy="484906"/>
            </a:xfrm>
            <a:custGeom>
              <a:avLst/>
              <a:gdLst>
                <a:gd name="T0" fmla="*/ 810198 w 1562813"/>
                <a:gd name="T1" fmla="*/ 0 h 484906"/>
                <a:gd name="T2" fmla="*/ 0 w 1562813"/>
                <a:gd name="T3" fmla="*/ 142441 h 484906"/>
                <a:gd name="T4" fmla="*/ 851954 w 1562813"/>
                <a:gd name="T5" fmla="*/ 484907 h 484906"/>
                <a:gd name="T6" fmla="*/ 1562814 w 1562813"/>
                <a:gd name="T7" fmla="*/ 125604 h 48490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62813" h="484906">
                  <a:moveTo>
                    <a:pt x="810198" y="0"/>
                  </a:moveTo>
                  <a:lnTo>
                    <a:pt x="0" y="142441"/>
                  </a:lnTo>
                  <a:lnTo>
                    <a:pt x="851954" y="484907"/>
                  </a:lnTo>
                  <a:lnTo>
                    <a:pt x="1562814" y="125604"/>
                  </a:lnTo>
                  <a:lnTo>
                    <a:pt x="810198" y="0"/>
                  </a:lnTo>
                  <a:close/>
                </a:path>
              </a:pathLst>
            </a:custGeom>
            <a:solidFill>
              <a:srgbClr val="1D22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0984" name="Freeform: Shape 6">
              <a:extLst>
                <a:ext uri="{FF2B5EF4-FFF2-40B4-BE49-F238E27FC236}">
                  <a16:creationId xmlns:a16="http://schemas.microsoft.com/office/drawing/2014/main" id="{B57DB278-3483-CA8A-359D-18FA66DD3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7936" y="2568773"/>
              <a:ext cx="1562813" cy="403415"/>
            </a:xfrm>
            <a:custGeom>
              <a:avLst/>
              <a:gdLst>
                <a:gd name="T0" fmla="*/ 810198 w 1562813"/>
                <a:gd name="T1" fmla="*/ 0 h 403415"/>
                <a:gd name="T2" fmla="*/ 0 w 1562813"/>
                <a:gd name="T3" fmla="*/ 142441 h 403415"/>
                <a:gd name="T4" fmla="*/ 873506 w 1562813"/>
                <a:gd name="T5" fmla="*/ 403416 h 403415"/>
                <a:gd name="T6" fmla="*/ 1562814 w 1562813"/>
                <a:gd name="T7" fmla="*/ 125604 h 4034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62813" h="403415">
                  <a:moveTo>
                    <a:pt x="810198" y="0"/>
                  </a:moveTo>
                  <a:lnTo>
                    <a:pt x="0" y="142441"/>
                  </a:lnTo>
                  <a:lnTo>
                    <a:pt x="873506" y="403416"/>
                  </a:lnTo>
                  <a:lnTo>
                    <a:pt x="1562814" y="125604"/>
                  </a:lnTo>
                  <a:lnTo>
                    <a:pt x="810198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0985" name="Freeform: Shape 7">
              <a:extLst>
                <a:ext uri="{FF2B5EF4-FFF2-40B4-BE49-F238E27FC236}">
                  <a16:creationId xmlns:a16="http://schemas.microsoft.com/office/drawing/2014/main" id="{09485C71-3BDE-B726-EBF2-3C6B80389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5867" y="3238994"/>
              <a:ext cx="802153" cy="970922"/>
            </a:xfrm>
            <a:custGeom>
              <a:avLst/>
              <a:gdLst>
                <a:gd name="T0" fmla="*/ 801907 w 802153"/>
                <a:gd name="T1" fmla="*/ 249755 h 970922"/>
                <a:gd name="T2" fmla="*/ 768233 w 802153"/>
                <a:gd name="T3" fmla="*/ 215744 h 970922"/>
                <a:gd name="T4" fmla="*/ 755437 w 802153"/>
                <a:gd name="T5" fmla="*/ 230897 h 970922"/>
                <a:gd name="T6" fmla="*/ 744661 w 802153"/>
                <a:gd name="T7" fmla="*/ 262551 h 970922"/>
                <a:gd name="T8" fmla="*/ 728834 w 802153"/>
                <a:gd name="T9" fmla="*/ 271643 h 970922"/>
                <a:gd name="T10" fmla="*/ 721763 w 802153"/>
                <a:gd name="T11" fmla="*/ 250091 h 970922"/>
                <a:gd name="T12" fmla="*/ 727824 w 802153"/>
                <a:gd name="T13" fmla="*/ 106303 h 970922"/>
                <a:gd name="T14" fmla="*/ 695497 w 802153"/>
                <a:gd name="T15" fmla="*/ 11679 h 970922"/>
                <a:gd name="T16" fmla="*/ 683037 w 802153"/>
                <a:gd name="T17" fmla="*/ 7301 h 970922"/>
                <a:gd name="T18" fmla="*/ 131793 w 802153"/>
                <a:gd name="T19" fmla="*/ 903 h 970922"/>
                <a:gd name="T20" fmla="*/ 103506 w 802153"/>
                <a:gd name="T21" fmla="*/ 7638 h 970922"/>
                <a:gd name="T22" fmla="*/ 77241 w 802153"/>
                <a:gd name="T23" fmla="*/ 55792 h 970922"/>
                <a:gd name="T24" fmla="*/ 70843 w 802153"/>
                <a:gd name="T25" fmla="*/ 130548 h 970922"/>
                <a:gd name="T26" fmla="*/ 74884 w 802153"/>
                <a:gd name="T27" fmla="*/ 242683 h 970922"/>
                <a:gd name="T28" fmla="*/ 66128 w 802153"/>
                <a:gd name="T29" fmla="*/ 271643 h 970922"/>
                <a:gd name="T30" fmla="*/ 53332 w 802153"/>
                <a:gd name="T31" fmla="*/ 263224 h 970922"/>
                <a:gd name="T32" fmla="*/ 43567 w 802153"/>
                <a:gd name="T33" fmla="*/ 236285 h 970922"/>
                <a:gd name="T34" fmla="*/ 31781 w 802153"/>
                <a:gd name="T35" fmla="*/ 221805 h 970922"/>
                <a:gd name="T36" fmla="*/ 1474 w 802153"/>
                <a:gd name="T37" fmla="*/ 240326 h 970922"/>
                <a:gd name="T38" fmla="*/ 36158 w 802153"/>
                <a:gd name="T39" fmla="*/ 425197 h 970922"/>
                <a:gd name="T40" fmla="*/ 59730 w 802153"/>
                <a:gd name="T41" fmla="*/ 455167 h 970922"/>
                <a:gd name="T42" fmla="*/ 102833 w 802153"/>
                <a:gd name="T43" fmla="*/ 527903 h 970922"/>
                <a:gd name="T44" fmla="*/ 162099 w 802153"/>
                <a:gd name="T45" fmla="*/ 654180 h 970922"/>
                <a:gd name="T46" fmla="*/ 170518 w 802153"/>
                <a:gd name="T47" fmla="*/ 673038 h 970922"/>
                <a:gd name="T48" fmla="*/ 170518 w 802153"/>
                <a:gd name="T49" fmla="*/ 777428 h 970922"/>
                <a:gd name="T50" fmla="*/ 385359 w 802153"/>
                <a:gd name="T51" fmla="*/ 967349 h 970922"/>
                <a:gd name="T52" fmla="*/ 405563 w 802153"/>
                <a:gd name="T53" fmla="*/ 964319 h 970922"/>
                <a:gd name="T54" fmla="*/ 620067 w 802153"/>
                <a:gd name="T55" fmla="*/ 778101 h 970922"/>
                <a:gd name="T56" fmla="*/ 619730 w 802153"/>
                <a:gd name="T57" fmla="*/ 722539 h 970922"/>
                <a:gd name="T58" fmla="*/ 650373 w 802153"/>
                <a:gd name="T59" fmla="*/ 645425 h 970922"/>
                <a:gd name="T60" fmla="*/ 694487 w 802153"/>
                <a:gd name="T61" fmla="*/ 560230 h 970922"/>
                <a:gd name="T62" fmla="*/ 750386 w 802153"/>
                <a:gd name="T63" fmla="*/ 446075 h 970922"/>
                <a:gd name="T64" fmla="*/ 775304 w 802153"/>
                <a:gd name="T65" fmla="*/ 413074 h 970922"/>
                <a:gd name="T66" fmla="*/ 801907 w 802153"/>
                <a:gd name="T67" fmla="*/ 249755 h 97092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802153" h="970922">
                  <a:moveTo>
                    <a:pt x="801907" y="249755"/>
                  </a:moveTo>
                  <a:cubicBezTo>
                    <a:pt x="801233" y="225173"/>
                    <a:pt x="793152" y="217428"/>
                    <a:pt x="768233" y="215744"/>
                  </a:cubicBezTo>
                  <a:cubicBezTo>
                    <a:pt x="758804" y="216417"/>
                    <a:pt x="757457" y="224499"/>
                    <a:pt x="755437" y="230897"/>
                  </a:cubicBezTo>
                  <a:cubicBezTo>
                    <a:pt x="752069" y="241336"/>
                    <a:pt x="748702" y="252112"/>
                    <a:pt x="744661" y="262551"/>
                  </a:cubicBezTo>
                  <a:cubicBezTo>
                    <a:pt x="741630" y="269622"/>
                    <a:pt x="736579" y="273327"/>
                    <a:pt x="728834" y="271643"/>
                  </a:cubicBezTo>
                  <a:cubicBezTo>
                    <a:pt x="721426" y="269959"/>
                    <a:pt x="721763" y="252785"/>
                    <a:pt x="721763" y="250091"/>
                  </a:cubicBezTo>
                  <a:cubicBezTo>
                    <a:pt x="725130" y="202274"/>
                    <a:pt x="729508" y="154457"/>
                    <a:pt x="727824" y="106303"/>
                  </a:cubicBezTo>
                  <a:cubicBezTo>
                    <a:pt x="726477" y="71956"/>
                    <a:pt x="720416" y="38281"/>
                    <a:pt x="695497" y="11679"/>
                  </a:cubicBezTo>
                  <a:cubicBezTo>
                    <a:pt x="691793" y="8985"/>
                    <a:pt x="687415" y="7301"/>
                    <a:pt x="683037" y="7301"/>
                  </a:cubicBezTo>
                  <a:cubicBezTo>
                    <a:pt x="654414" y="6291"/>
                    <a:pt x="147283" y="3934"/>
                    <a:pt x="131793" y="903"/>
                  </a:cubicBezTo>
                  <a:cubicBezTo>
                    <a:pt x="122027" y="-1117"/>
                    <a:pt x="111588" y="-107"/>
                    <a:pt x="103506" y="7638"/>
                  </a:cubicBezTo>
                  <a:cubicBezTo>
                    <a:pt x="90710" y="21781"/>
                    <a:pt x="82965" y="38281"/>
                    <a:pt x="77241" y="55792"/>
                  </a:cubicBezTo>
                  <a:cubicBezTo>
                    <a:pt x="69159" y="80374"/>
                    <a:pt x="70169" y="105966"/>
                    <a:pt x="70843" y="130548"/>
                  </a:cubicBezTo>
                  <a:cubicBezTo>
                    <a:pt x="71853" y="167927"/>
                    <a:pt x="69159" y="205642"/>
                    <a:pt x="74884" y="242683"/>
                  </a:cubicBezTo>
                  <a:cubicBezTo>
                    <a:pt x="75894" y="248071"/>
                    <a:pt x="73536" y="270969"/>
                    <a:pt x="66128" y="271643"/>
                  </a:cubicBezTo>
                  <a:cubicBezTo>
                    <a:pt x="59393" y="272316"/>
                    <a:pt x="55689" y="268949"/>
                    <a:pt x="53332" y="263224"/>
                  </a:cubicBezTo>
                  <a:cubicBezTo>
                    <a:pt x="49291" y="254469"/>
                    <a:pt x="47271" y="245377"/>
                    <a:pt x="43567" y="236285"/>
                  </a:cubicBezTo>
                  <a:cubicBezTo>
                    <a:pt x="41209" y="230561"/>
                    <a:pt x="40536" y="222816"/>
                    <a:pt x="31781" y="221805"/>
                  </a:cubicBezTo>
                  <a:cubicBezTo>
                    <a:pt x="9219" y="220122"/>
                    <a:pt x="2821" y="223489"/>
                    <a:pt x="1474" y="240326"/>
                  </a:cubicBezTo>
                  <a:cubicBezTo>
                    <a:pt x="-3577" y="304980"/>
                    <a:pt x="3494" y="367614"/>
                    <a:pt x="36158" y="425197"/>
                  </a:cubicBezTo>
                  <a:cubicBezTo>
                    <a:pt x="42220" y="435972"/>
                    <a:pt x="47607" y="448095"/>
                    <a:pt x="59730" y="455167"/>
                  </a:cubicBezTo>
                  <a:cubicBezTo>
                    <a:pt x="87343" y="471330"/>
                    <a:pt x="100812" y="495239"/>
                    <a:pt x="102833" y="527903"/>
                  </a:cubicBezTo>
                  <a:cubicBezTo>
                    <a:pt x="105527" y="577404"/>
                    <a:pt x="122027" y="621853"/>
                    <a:pt x="162099" y="654180"/>
                  </a:cubicBezTo>
                  <a:cubicBezTo>
                    <a:pt x="168161" y="659232"/>
                    <a:pt x="170518" y="664956"/>
                    <a:pt x="170518" y="673038"/>
                  </a:cubicBezTo>
                  <a:cubicBezTo>
                    <a:pt x="170181" y="707722"/>
                    <a:pt x="170518" y="742407"/>
                    <a:pt x="170518" y="777428"/>
                  </a:cubicBezTo>
                  <a:cubicBezTo>
                    <a:pt x="180620" y="796285"/>
                    <a:pt x="367174" y="950512"/>
                    <a:pt x="385359" y="967349"/>
                  </a:cubicBezTo>
                  <a:cubicBezTo>
                    <a:pt x="393104" y="974421"/>
                    <a:pt x="399502" y="969707"/>
                    <a:pt x="405563" y="964319"/>
                  </a:cubicBezTo>
                  <a:cubicBezTo>
                    <a:pt x="428798" y="943441"/>
                    <a:pt x="615353" y="786520"/>
                    <a:pt x="620067" y="778101"/>
                  </a:cubicBezTo>
                  <a:cubicBezTo>
                    <a:pt x="620067" y="759580"/>
                    <a:pt x="621750" y="741060"/>
                    <a:pt x="619730" y="722539"/>
                  </a:cubicBezTo>
                  <a:cubicBezTo>
                    <a:pt x="616363" y="690885"/>
                    <a:pt x="624108" y="666640"/>
                    <a:pt x="650373" y="645425"/>
                  </a:cubicBezTo>
                  <a:cubicBezTo>
                    <a:pt x="676303" y="624547"/>
                    <a:pt x="695497" y="595251"/>
                    <a:pt x="694487" y="560230"/>
                  </a:cubicBezTo>
                  <a:cubicBezTo>
                    <a:pt x="693476" y="511739"/>
                    <a:pt x="714018" y="475371"/>
                    <a:pt x="750386" y="446075"/>
                  </a:cubicBezTo>
                  <a:cubicBezTo>
                    <a:pt x="761498" y="436983"/>
                    <a:pt x="769916" y="426207"/>
                    <a:pt x="775304" y="413074"/>
                  </a:cubicBezTo>
                  <a:cubicBezTo>
                    <a:pt x="796856" y="361216"/>
                    <a:pt x="803591" y="305990"/>
                    <a:pt x="801907" y="249755"/>
                  </a:cubicBezTo>
                  <a:close/>
                </a:path>
              </a:pathLst>
            </a:custGeom>
            <a:solidFill>
              <a:srgbClr val="FDC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0986" name="Freeform: Shape 8">
              <a:extLst>
                <a:ext uri="{FF2B5EF4-FFF2-40B4-BE49-F238E27FC236}">
                  <a16:creationId xmlns:a16="http://schemas.microsoft.com/office/drawing/2014/main" id="{D5E45B51-7C27-061F-036C-949E3021B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4930" y="4179741"/>
              <a:ext cx="2491221" cy="1440441"/>
            </a:xfrm>
            <a:custGeom>
              <a:avLst/>
              <a:gdLst>
                <a:gd name="T0" fmla="*/ 2431942 w 2491221"/>
                <a:gd name="T1" fmla="*/ 1045244 h 1440441"/>
                <a:gd name="T2" fmla="*/ 2260541 w 2491221"/>
                <a:gd name="T3" fmla="*/ 674829 h 1440441"/>
                <a:gd name="T4" fmla="*/ 1929188 w 2491221"/>
                <a:gd name="T5" fmla="*/ 130656 h 1440441"/>
                <a:gd name="T6" fmla="*/ 1903596 w 2491221"/>
                <a:gd name="T7" fmla="*/ 110788 h 1440441"/>
                <a:gd name="T8" fmla="*/ 1650030 w 2491221"/>
                <a:gd name="T9" fmla="*/ 31317 h 1440441"/>
                <a:gd name="T10" fmla="*/ 1526446 w 2491221"/>
                <a:gd name="T11" fmla="*/ 0 h 1440441"/>
                <a:gd name="T12" fmla="*/ 1534528 w 2491221"/>
                <a:gd name="T13" fmla="*/ 26603 h 1440441"/>
                <a:gd name="T14" fmla="*/ 1526109 w 2491221"/>
                <a:gd name="T15" fmla="*/ 44113 h 1440441"/>
                <a:gd name="T16" fmla="*/ 1442261 w 2491221"/>
                <a:gd name="T17" fmla="*/ 69032 h 1440441"/>
                <a:gd name="T18" fmla="*/ 1431149 w 2491221"/>
                <a:gd name="T19" fmla="*/ 72736 h 1440441"/>
                <a:gd name="T20" fmla="*/ 1421720 w 2491221"/>
                <a:gd name="T21" fmla="*/ 81491 h 1440441"/>
                <a:gd name="T22" fmla="*/ 1430475 w 2491221"/>
                <a:gd name="T23" fmla="*/ 90247 h 1440441"/>
                <a:gd name="T24" fmla="*/ 1443271 w 2491221"/>
                <a:gd name="T25" fmla="*/ 94287 h 1440441"/>
                <a:gd name="T26" fmla="*/ 1504895 w 2491221"/>
                <a:gd name="T27" fmla="*/ 111124 h 1440441"/>
                <a:gd name="T28" fmla="*/ 1509946 w 2491221"/>
                <a:gd name="T29" fmla="*/ 127625 h 1440441"/>
                <a:gd name="T30" fmla="*/ 1457414 w 2491221"/>
                <a:gd name="T31" fmla="*/ 188912 h 1440441"/>
                <a:gd name="T32" fmla="*/ 1154348 w 2491221"/>
                <a:gd name="T33" fmla="*/ 540469 h 1440441"/>
                <a:gd name="T34" fmla="*/ 1121347 w 2491221"/>
                <a:gd name="T35" fmla="*/ 541142 h 1440441"/>
                <a:gd name="T36" fmla="*/ 732411 w 2491221"/>
                <a:gd name="T37" fmla="*/ 127625 h 1440441"/>
                <a:gd name="T38" fmla="*/ 737462 w 2491221"/>
                <a:gd name="T39" fmla="*/ 109441 h 1440441"/>
                <a:gd name="T40" fmla="*/ 778208 w 2491221"/>
                <a:gd name="T41" fmla="*/ 94287 h 1440441"/>
                <a:gd name="T42" fmla="*/ 815923 w 2491221"/>
                <a:gd name="T43" fmla="*/ 78797 h 1440441"/>
                <a:gd name="T44" fmla="*/ 795382 w 2491221"/>
                <a:gd name="T45" fmla="*/ 69032 h 1440441"/>
                <a:gd name="T46" fmla="*/ 726687 w 2491221"/>
                <a:gd name="T47" fmla="*/ 46470 h 1440441"/>
                <a:gd name="T48" fmla="*/ 714901 w 2491221"/>
                <a:gd name="T49" fmla="*/ 18521 h 1440441"/>
                <a:gd name="T50" fmla="*/ 714564 w 2491221"/>
                <a:gd name="T51" fmla="*/ 7408 h 1440441"/>
                <a:gd name="T52" fmla="*/ 324618 w 2491221"/>
                <a:gd name="T53" fmla="*/ 119880 h 1440441"/>
                <a:gd name="T54" fmla="*/ 311148 w 2491221"/>
                <a:gd name="T55" fmla="*/ 131329 h 1440441"/>
                <a:gd name="T56" fmla="*/ 232688 w 2491221"/>
                <a:gd name="T57" fmla="*/ 320241 h 1440441"/>
                <a:gd name="T58" fmla="*/ 0 w 2491221"/>
                <a:gd name="T59" fmla="*/ 956344 h 1440441"/>
                <a:gd name="T60" fmla="*/ 1636897 w 2491221"/>
                <a:gd name="T61" fmla="*/ 966783 h 1440441"/>
                <a:gd name="T62" fmla="*/ 1636897 w 2491221"/>
                <a:gd name="T63" fmla="*/ 968467 h 1440441"/>
                <a:gd name="T64" fmla="*/ 1643295 w 2491221"/>
                <a:gd name="T65" fmla="*/ 1258064 h 1440441"/>
                <a:gd name="T66" fmla="*/ 1674275 w 2491221"/>
                <a:gd name="T67" fmla="*/ 1256717 h 1440441"/>
                <a:gd name="T68" fmla="*/ 1687072 w 2491221"/>
                <a:gd name="T69" fmla="*/ 1268503 h 1440441"/>
                <a:gd name="T70" fmla="*/ 1702898 w 2491221"/>
                <a:gd name="T71" fmla="*/ 1294769 h 1440441"/>
                <a:gd name="T72" fmla="*/ 1954781 w 2491221"/>
                <a:gd name="T73" fmla="*/ 1376597 h 1440441"/>
                <a:gd name="T74" fmla="*/ 2491209 w 2491221"/>
                <a:gd name="T75" fmla="*/ 1437884 h 1440441"/>
                <a:gd name="T76" fmla="*/ 2431942 w 2491221"/>
                <a:gd name="T77" fmla="*/ 1045244 h 144044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491221" h="1440441">
                  <a:moveTo>
                    <a:pt x="2431942" y="1045244"/>
                  </a:moveTo>
                  <a:cubicBezTo>
                    <a:pt x="2387156" y="916272"/>
                    <a:pt x="2325869" y="794709"/>
                    <a:pt x="2260541" y="674829"/>
                  </a:cubicBezTo>
                  <a:cubicBezTo>
                    <a:pt x="2158845" y="487937"/>
                    <a:pt x="2046711" y="307781"/>
                    <a:pt x="1929188" y="130656"/>
                  </a:cubicBezTo>
                  <a:cubicBezTo>
                    <a:pt x="1922453" y="120553"/>
                    <a:pt x="1914708" y="114829"/>
                    <a:pt x="1903596" y="110788"/>
                  </a:cubicBezTo>
                  <a:cubicBezTo>
                    <a:pt x="1819747" y="82165"/>
                    <a:pt x="1735562" y="54889"/>
                    <a:pt x="1650030" y="31317"/>
                  </a:cubicBezTo>
                  <a:cubicBezTo>
                    <a:pt x="1608948" y="19868"/>
                    <a:pt x="1568539" y="7072"/>
                    <a:pt x="1526446" y="0"/>
                  </a:cubicBezTo>
                  <a:cubicBezTo>
                    <a:pt x="1523415" y="10439"/>
                    <a:pt x="1530487" y="18184"/>
                    <a:pt x="1534528" y="26603"/>
                  </a:cubicBezTo>
                  <a:cubicBezTo>
                    <a:pt x="1539579" y="37041"/>
                    <a:pt x="1537559" y="41756"/>
                    <a:pt x="1526109" y="44113"/>
                  </a:cubicBezTo>
                  <a:cubicBezTo>
                    <a:pt x="1497486" y="50174"/>
                    <a:pt x="1470547" y="61624"/>
                    <a:pt x="1442261" y="69032"/>
                  </a:cubicBezTo>
                  <a:cubicBezTo>
                    <a:pt x="1438557" y="70042"/>
                    <a:pt x="1434516" y="71052"/>
                    <a:pt x="1431149" y="72736"/>
                  </a:cubicBezTo>
                  <a:cubicBezTo>
                    <a:pt x="1427108" y="74420"/>
                    <a:pt x="1422057" y="76777"/>
                    <a:pt x="1421720" y="81491"/>
                  </a:cubicBezTo>
                  <a:cubicBezTo>
                    <a:pt x="1421383" y="86879"/>
                    <a:pt x="1426434" y="88563"/>
                    <a:pt x="1430475" y="90247"/>
                  </a:cubicBezTo>
                  <a:cubicBezTo>
                    <a:pt x="1434516" y="91930"/>
                    <a:pt x="1438894" y="92940"/>
                    <a:pt x="1443271" y="94287"/>
                  </a:cubicBezTo>
                  <a:cubicBezTo>
                    <a:pt x="1463812" y="99339"/>
                    <a:pt x="1484017" y="107084"/>
                    <a:pt x="1504895" y="111124"/>
                  </a:cubicBezTo>
                  <a:cubicBezTo>
                    <a:pt x="1517691" y="113482"/>
                    <a:pt x="1517691" y="118533"/>
                    <a:pt x="1509946" y="127625"/>
                  </a:cubicBezTo>
                  <a:cubicBezTo>
                    <a:pt x="1492435" y="148166"/>
                    <a:pt x="1474925" y="168707"/>
                    <a:pt x="1457414" y="188912"/>
                  </a:cubicBezTo>
                  <a:cubicBezTo>
                    <a:pt x="1356729" y="306434"/>
                    <a:pt x="1254360" y="422610"/>
                    <a:pt x="1154348" y="540469"/>
                  </a:cubicBezTo>
                  <a:cubicBezTo>
                    <a:pt x="1138857" y="558653"/>
                    <a:pt x="1137847" y="558990"/>
                    <a:pt x="1121347" y="541142"/>
                  </a:cubicBezTo>
                  <a:cubicBezTo>
                    <a:pt x="1091040" y="507805"/>
                    <a:pt x="782922" y="181167"/>
                    <a:pt x="732411" y="127625"/>
                  </a:cubicBezTo>
                  <a:cubicBezTo>
                    <a:pt x="721972" y="116512"/>
                    <a:pt x="727023" y="113145"/>
                    <a:pt x="737462" y="109441"/>
                  </a:cubicBezTo>
                  <a:cubicBezTo>
                    <a:pt x="750932" y="104390"/>
                    <a:pt x="765075" y="100012"/>
                    <a:pt x="778208" y="94287"/>
                  </a:cubicBezTo>
                  <a:cubicBezTo>
                    <a:pt x="790331" y="88900"/>
                    <a:pt x="804811" y="88226"/>
                    <a:pt x="815923" y="78797"/>
                  </a:cubicBezTo>
                  <a:cubicBezTo>
                    <a:pt x="809188" y="73073"/>
                    <a:pt x="802117" y="71389"/>
                    <a:pt x="795382" y="69032"/>
                  </a:cubicBezTo>
                  <a:cubicBezTo>
                    <a:pt x="772483" y="61624"/>
                    <a:pt x="749585" y="54215"/>
                    <a:pt x="726687" y="46470"/>
                  </a:cubicBezTo>
                  <a:cubicBezTo>
                    <a:pt x="712207" y="41756"/>
                    <a:pt x="702105" y="35021"/>
                    <a:pt x="714901" y="18521"/>
                  </a:cubicBezTo>
                  <a:cubicBezTo>
                    <a:pt x="717595" y="15153"/>
                    <a:pt x="716921" y="11113"/>
                    <a:pt x="714564" y="7408"/>
                  </a:cubicBezTo>
                  <a:cubicBezTo>
                    <a:pt x="582898" y="39399"/>
                    <a:pt x="453253" y="78461"/>
                    <a:pt x="324618" y="119880"/>
                  </a:cubicBezTo>
                  <a:cubicBezTo>
                    <a:pt x="318557" y="121900"/>
                    <a:pt x="313842" y="124594"/>
                    <a:pt x="311148" y="131329"/>
                  </a:cubicBezTo>
                  <a:cubicBezTo>
                    <a:pt x="285220" y="194299"/>
                    <a:pt x="258954" y="257270"/>
                    <a:pt x="232688" y="320241"/>
                  </a:cubicBezTo>
                  <a:cubicBezTo>
                    <a:pt x="238413" y="325628"/>
                    <a:pt x="0" y="956344"/>
                    <a:pt x="0" y="956344"/>
                  </a:cubicBezTo>
                  <a:cubicBezTo>
                    <a:pt x="0" y="956344"/>
                    <a:pt x="1640938" y="943211"/>
                    <a:pt x="1636897" y="966783"/>
                  </a:cubicBezTo>
                  <a:cubicBezTo>
                    <a:pt x="1636897" y="967457"/>
                    <a:pt x="1636897" y="967793"/>
                    <a:pt x="1636897" y="968467"/>
                  </a:cubicBezTo>
                  <a:cubicBezTo>
                    <a:pt x="1636560" y="1046254"/>
                    <a:pt x="1634540" y="1252003"/>
                    <a:pt x="1643295" y="1258064"/>
                  </a:cubicBezTo>
                  <a:cubicBezTo>
                    <a:pt x="1651377" y="1263788"/>
                    <a:pt x="1663836" y="1258401"/>
                    <a:pt x="1674275" y="1256717"/>
                  </a:cubicBezTo>
                  <a:cubicBezTo>
                    <a:pt x="1684041" y="1255370"/>
                    <a:pt x="1688418" y="1259074"/>
                    <a:pt x="1687072" y="1268503"/>
                  </a:cubicBezTo>
                  <a:cubicBezTo>
                    <a:pt x="1685051" y="1281972"/>
                    <a:pt x="1692459" y="1289381"/>
                    <a:pt x="1702898" y="1294769"/>
                  </a:cubicBezTo>
                  <a:cubicBezTo>
                    <a:pt x="1713000" y="1299820"/>
                    <a:pt x="1879014" y="1359760"/>
                    <a:pt x="1954781" y="1376597"/>
                  </a:cubicBezTo>
                  <a:cubicBezTo>
                    <a:pt x="1997210" y="1386025"/>
                    <a:pt x="2489862" y="1454384"/>
                    <a:pt x="2491209" y="1437884"/>
                  </a:cubicBezTo>
                  <a:cubicBezTo>
                    <a:pt x="2492219" y="1430812"/>
                    <a:pt x="2433963" y="1050968"/>
                    <a:pt x="2431942" y="1045244"/>
                  </a:cubicBezTo>
                  <a:close/>
                </a:path>
              </a:pathLst>
            </a:custGeom>
            <a:solidFill>
              <a:srgbClr val="313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0987" name="Freeform: Shape 9">
              <a:extLst>
                <a:ext uri="{FF2B5EF4-FFF2-40B4-BE49-F238E27FC236}">
                  <a16:creationId xmlns:a16="http://schemas.microsoft.com/office/drawing/2014/main" id="{797C1A9F-441D-F5DB-73F3-13F8CDB8F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9518" y="4128591"/>
              <a:ext cx="842152" cy="613967"/>
            </a:xfrm>
            <a:custGeom>
              <a:avLst/>
              <a:gdLst>
                <a:gd name="T0" fmla="*/ 839705 w 842152"/>
                <a:gd name="T1" fmla="*/ 84823 h 613967"/>
                <a:gd name="T2" fmla="*/ 795592 w 842152"/>
                <a:gd name="T3" fmla="*/ 23537 h 613967"/>
                <a:gd name="T4" fmla="*/ 687162 w 842152"/>
                <a:gd name="T5" fmla="*/ 5353 h 613967"/>
                <a:gd name="T6" fmla="*/ 668641 w 842152"/>
                <a:gd name="T7" fmla="*/ 5016 h 613967"/>
                <a:gd name="T8" fmla="*/ 658875 w 842152"/>
                <a:gd name="T9" fmla="*/ 20506 h 613967"/>
                <a:gd name="T10" fmla="*/ 540006 w 842152"/>
                <a:gd name="T11" fmla="*/ 257908 h 613967"/>
                <a:gd name="T12" fmla="*/ 488148 w 842152"/>
                <a:gd name="T13" fmla="*/ 187866 h 613967"/>
                <a:gd name="T14" fmla="*/ 427198 w 842152"/>
                <a:gd name="T15" fmla="*/ 101997 h 613967"/>
                <a:gd name="T16" fmla="*/ 415075 w 842152"/>
                <a:gd name="T17" fmla="*/ 101997 h 613967"/>
                <a:gd name="T18" fmla="*/ 355135 w 842152"/>
                <a:gd name="T19" fmla="*/ 187530 h 613967"/>
                <a:gd name="T20" fmla="*/ 353788 w 842152"/>
                <a:gd name="T21" fmla="*/ 186519 h 613967"/>
                <a:gd name="T22" fmla="*/ 332910 w 842152"/>
                <a:gd name="T23" fmla="*/ 207397 h 613967"/>
                <a:gd name="T24" fmla="*/ 304287 w 842152"/>
                <a:gd name="T25" fmla="*/ 245449 h 613967"/>
                <a:gd name="T26" fmla="*/ 297889 w 842152"/>
                <a:gd name="T27" fmla="*/ 239051 h 613967"/>
                <a:gd name="T28" fmla="*/ 201918 w 842152"/>
                <a:gd name="T29" fmla="*/ 64282 h 613967"/>
                <a:gd name="T30" fmla="*/ 173969 w 842152"/>
                <a:gd name="T31" fmla="*/ 12761 h 613967"/>
                <a:gd name="T32" fmla="*/ 148040 w 842152"/>
                <a:gd name="T33" fmla="*/ 4006 h 613967"/>
                <a:gd name="T34" fmla="*/ 49374 w 842152"/>
                <a:gd name="T35" fmla="*/ 23200 h 613967"/>
                <a:gd name="T36" fmla="*/ 10313 w 842152"/>
                <a:gd name="T37" fmla="*/ 57884 h 613967"/>
                <a:gd name="T38" fmla="*/ 26476 w 842152"/>
                <a:gd name="T39" fmla="*/ 104355 h 613967"/>
                <a:gd name="T40" fmla="*/ 101906 w 842152"/>
                <a:gd name="T41" fmla="*/ 129273 h 613967"/>
                <a:gd name="T42" fmla="*/ 35905 w 842152"/>
                <a:gd name="T43" fmla="*/ 153182 h 613967"/>
                <a:gd name="T44" fmla="*/ 27823 w 842152"/>
                <a:gd name="T45" fmla="*/ 185846 h 613967"/>
                <a:gd name="T46" fmla="*/ 424504 w 842152"/>
                <a:gd name="T47" fmla="*/ 608119 h 613967"/>
                <a:gd name="T48" fmla="*/ 444708 w 842152"/>
                <a:gd name="T49" fmla="*/ 607109 h 613967"/>
                <a:gd name="T50" fmla="*/ 812766 w 842152"/>
                <a:gd name="T51" fmla="*/ 178438 h 613967"/>
                <a:gd name="T52" fmla="*/ 806705 w 842152"/>
                <a:gd name="T53" fmla="*/ 157560 h 613967"/>
                <a:gd name="T54" fmla="*/ 717468 w 842152"/>
                <a:gd name="T55" fmla="*/ 132977 h 613967"/>
                <a:gd name="T56" fmla="*/ 832970 w 842152"/>
                <a:gd name="T57" fmla="*/ 97956 h 613967"/>
                <a:gd name="T58" fmla="*/ 839705 w 842152"/>
                <a:gd name="T59" fmla="*/ 84823 h 61396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42152" h="613967">
                  <a:moveTo>
                    <a:pt x="839705" y="84823"/>
                  </a:moveTo>
                  <a:cubicBezTo>
                    <a:pt x="833307" y="73711"/>
                    <a:pt x="811082" y="26231"/>
                    <a:pt x="795592" y="23537"/>
                  </a:cubicBezTo>
                  <a:cubicBezTo>
                    <a:pt x="759561" y="17475"/>
                    <a:pt x="723193" y="11414"/>
                    <a:pt x="687162" y="5353"/>
                  </a:cubicBezTo>
                  <a:cubicBezTo>
                    <a:pt x="681100" y="-2392"/>
                    <a:pt x="675039" y="-1045"/>
                    <a:pt x="668641" y="5016"/>
                  </a:cubicBezTo>
                  <a:cubicBezTo>
                    <a:pt x="664263" y="9394"/>
                    <a:pt x="661569" y="15118"/>
                    <a:pt x="658875" y="20506"/>
                  </a:cubicBezTo>
                  <a:cubicBezTo>
                    <a:pt x="618466" y="99303"/>
                    <a:pt x="578731" y="178438"/>
                    <a:pt x="540006" y="257908"/>
                  </a:cubicBezTo>
                  <a:cubicBezTo>
                    <a:pt x="522832" y="234673"/>
                    <a:pt x="505658" y="211438"/>
                    <a:pt x="488148" y="187866"/>
                  </a:cubicBezTo>
                  <a:cubicBezTo>
                    <a:pt x="467943" y="159243"/>
                    <a:pt x="447402" y="130620"/>
                    <a:pt x="427198" y="101997"/>
                  </a:cubicBezTo>
                  <a:cubicBezTo>
                    <a:pt x="422820" y="95599"/>
                    <a:pt x="419789" y="95262"/>
                    <a:pt x="415075" y="101997"/>
                  </a:cubicBezTo>
                  <a:cubicBezTo>
                    <a:pt x="395207" y="130620"/>
                    <a:pt x="375003" y="158906"/>
                    <a:pt x="355135" y="187530"/>
                  </a:cubicBezTo>
                  <a:cubicBezTo>
                    <a:pt x="354798" y="187193"/>
                    <a:pt x="354125" y="186856"/>
                    <a:pt x="353788" y="186519"/>
                  </a:cubicBezTo>
                  <a:cubicBezTo>
                    <a:pt x="343012" y="189550"/>
                    <a:pt x="338972" y="199652"/>
                    <a:pt x="332910" y="207397"/>
                  </a:cubicBezTo>
                  <a:cubicBezTo>
                    <a:pt x="323145" y="219857"/>
                    <a:pt x="315063" y="234000"/>
                    <a:pt x="304287" y="245449"/>
                  </a:cubicBezTo>
                  <a:cubicBezTo>
                    <a:pt x="300246" y="244102"/>
                    <a:pt x="299236" y="241408"/>
                    <a:pt x="297889" y="239051"/>
                  </a:cubicBezTo>
                  <a:cubicBezTo>
                    <a:pt x="265562" y="181131"/>
                    <a:pt x="234582" y="122202"/>
                    <a:pt x="201918" y="64282"/>
                  </a:cubicBezTo>
                  <a:cubicBezTo>
                    <a:pt x="192489" y="47109"/>
                    <a:pt x="183734" y="29598"/>
                    <a:pt x="173969" y="12761"/>
                  </a:cubicBezTo>
                  <a:cubicBezTo>
                    <a:pt x="166224" y="-1045"/>
                    <a:pt x="159825" y="-2729"/>
                    <a:pt x="148040" y="4006"/>
                  </a:cubicBezTo>
                  <a:cubicBezTo>
                    <a:pt x="115039" y="10404"/>
                    <a:pt x="82375" y="17475"/>
                    <a:pt x="49374" y="23200"/>
                  </a:cubicBezTo>
                  <a:cubicBezTo>
                    <a:pt x="39609" y="24884"/>
                    <a:pt x="17384" y="45762"/>
                    <a:pt x="10313" y="57884"/>
                  </a:cubicBezTo>
                  <a:cubicBezTo>
                    <a:pt x="-6524" y="86170"/>
                    <a:pt x="-3831" y="93579"/>
                    <a:pt x="26476" y="104355"/>
                  </a:cubicBezTo>
                  <a:cubicBezTo>
                    <a:pt x="30180" y="105701"/>
                    <a:pt x="78671" y="121192"/>
                    <a:pt x="101906" y="129273"/>
                  </a:cubicBezTo>
                  <a:cubicBezTo>
                    <a:pt x="77324" y="136345"/>
                    <a:pt x="56783" y="145437"/>
                    <a:pt x="35905" y="153182"/>
                  </a:cubicBezTo>
                  <a:cubicBezTo>
                    <a:pt x="14690" y="160927"/>
                    <a:pt x="13006" y="169009"/>
                    <a:pt x="27823" y="185846"/>
                  </a:cubicBezTo>
                  <a:cubicBezTo>
                    <a:pt x="72610" y="236357"/>
                    <a:pt x="387799" y="567373"/>
                    <a:pt x="424504" y="608119"/>
                  </a:cubicBezTo>
                  <a:cubicBezTo>
                    <a:pt x="432585" y="616874"/>
                    <a:pt x="438310" y="615190"/>
                    <a:pt x="444708" y="607109"/>
                  </a:cubicBezTo>
                  <a:cubicBezTo>
                    <a:pt x="454137" y="595323"/>
                    <a:pt x="747101" y="255214"/>
                    <a:pt x="812766" y="178438"/>
                  </a:cubicBezTo>
                  <a:cubicBezTo>
                    <a:pt x="826236" y="162611"/>
                    <a:pt x="826572" y="162947"/>
                    <a:pt x="806705" y="157560"/>
                  </a:cubicBezTo>
                  <a:cubicBezTo>
                    <a:pt x="777745" y="149815"/>
                    <a:pt x="749122" y="141733"/>
                    <a:pt x="717468" y="132977"/>
                  </a:cubicBezTo>
                  <a:cubicBezTo>
                    <a:pt x="722519" y="130284"/>
                    <a:pt x="797276" y="107385"/>
                    <a:pt x="832970" y="97956"/>
                  </a:cubicBezTo>
                  <a:cubicBezTo>
                    <a:pt x="842399" y="95599"/>
                    <a:pt x="844420" y="93242"/>
                    <a:pt x="839705" y="848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0988" name="Freeform: Shape 10">
              <a:extLst>
                <a:ext uri="{FF2B5EF4-FFF2-40B4-BE49-F238E27FC236}">
                  <a16:creationId xmlns:a16="http://schemas.microsoft.com/office/drawing/2014/main" id="{AE43C496-9AF2-74E2-AD9E-367F86C17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1917" y="4495014"/>
              <a:ext cx="1754756" cy="1067384"/>
            </a:xfrm>
            <a:custGeom>
              <a:avLst/>
              <a:gdLst>
                <a:gd name="T0" fmla="*/ 1677643 w 1754756"/>
                <a:gd name="T1" fmla="*/ 88142 h 1067384"/>
                <a:gd name="T2" fmla="*/ 1677306 w 1754756"/>
                <a:gd name="T3" fmla="*/ 496609 h 1067384"/>
                <a:gd name="T4" fmla="*/ 1676969 w 1754756"/>
                <a:gd name="T5" fmla="*/ 567324 h 1067384"/>
                <a:gd name="T6" fmla="*/ 1692796 w 1754756"/>
                <a:gd name="T7" fmla="*/ 583825 h 1067384"/>
                <a:gd name="T8" fmla="*/ 1754756 w 1754756"/>
                <a:gd name="T9" fmla="*/ 585845 h 1067384"/>
                <a:gd name="T10" fmla="*/ 1735562 w 1754756"/>
                <a:gd name="T11" fmla="*/ 593253 h 1067384"/>
                <a:gd name="T12" fmla="*/ 1698521 w 1754756"/>
                <a:gd name="T13" fmla="*/ 593590 h 1067384"/>
                <a:gd name="T14" fmla="*/ 1684378 w 1754756"/>
                <a:gd name="T15" fmla="*/ 608070 h 1067384"/>
                <a:gd name="T16" fmla="*/ 1684378 w 1754756"/>
                <a:gd name="T17" fmla="*/ 650162 h 1067384"/>
                <a:gd name="T18" fmla="*/ 1678316 w 1754756"/>
                <a:gd name="T19" fmla="*/ 670367 h 1067384"/>
                <a:gd name="T20" fmla="*/ 1677643 w 1754756"/>
                <a:gd name="T21" fmla="*/ 863993 h 1067384"/>
                <a:gd name="T22" fmla="*/ 1677643 w 1754756"/>
                <a:gd name="T23" fmla="*/ 1042465 h 1067384"/>
                <a:gd name="T24" fmla="*/ 1652387 w 1754756"/>
                <a:gd name="T25" fmla="*/ 1067384 h 1067384"/>
                <a:gd name="T26" fmla="*/ 1559783 w 1754756"/>
                <a:gd name="T27" fmla="*/ 1067384 h 1067384"/>
                <a:gd name="T28" fmla="*/ 460325 w 1754756"/>
                <a:gd name="T29" fmla="*/ 1067384 h 1067384"/>
                <a:gd name="T30" fmla="*/ 16164 w 1754756"/>
                <a:gd name="T31" fmla="*/ 1067384 h 1067384"/>
                <a:gd name="T32" fmla="*/ 0 w 1754756"/>
                <a:gd name="T33" fmla="*/ 1050211 h 1067384"/>
                <a:gd name="T34" fmla="*/ 0 w 1754756"/>
                <a:gd name="T35" fmla="*/ 960974 h 1067384"/>
                <a:gd name="T36" fmla="*/ 0 w 1754756"/>
                <a:gd name="T37" fmla="*/ 46723 h 1067384"/>
                <a:gd name="T38" fmla="*/ 39399 w 1754756"/>
                <a:gd name="T39" fmla="*/ 7324 h 1067384"/>
                <a:gd name="T40" fmla="*/ 901455 w 1754756"/>
                <a:gd name="T41" fmla="*/ 7324 h 1067384"/>
                <a:gd name="T42" fmla="*/ 926374 w 1754756"/>
                <a:gd name="T43" fmla="*/ 4293 h 1067384"/>
                <a:gd name="T44" fmla="*/ 949272 w 1754756"/>
                <a:gd name="T45" fmla="*/ 252 h 1067384"/>
                <a:gd name="T46" fmla="*/ 1579988 w 1754756"/>
                <a:gd name="T47" fmla="*/ 252 h 1067384"/>
                <a:gd name="T48" fmla="*/ 1603560 w 1754756"/>
                <a:gd name="T49" fmla="*/ 926 h 1067384"/>
                <a:gd name="T50" fmla="*/ 1660806 w 1754756"/>
                <a:gd name="T51" fmla="*/ 589 h 1067384"/>
                <a:gd name="T52" fmla="*/ 1684714 w 1754756"/>
                <a:gd name="T53" fmla="*/ 24161 h 1067384"/>
                <a:gd name="T54" fmla="*/ 1684714 w 1754756"/>
                <a:gd name="T55" fmla="*/ 71305 h 1067384"/>
                <a:gd name="T56" fmla="*/ 1677643 w 1754756"/>
                <a:gd name="T57" fmla="*/ 88142 h 106738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754756" h="1067384">
                  <a:moveTo>
                    <a:pt x="1677643" y="88142"/>
                  </a:moveTo>
                  <a:cubicBezTo>
                    <a:pt x="1677643" y="224185"/>
                    <a:pt x="1677306" y="360565"/>
                    <a:pt x="1677306" y="496609"/>
                  </a:cubicBezTo>
                  <a:cubicBezTo>
                    <a:pt x="1677306" y="520180"/>
                    <a:pt x="1677979" y="543752"/>
                    <a:pt x="1676969" y="567324"/>
                  </a:cubicBezTo>
                  <a:cubicBezTo>
                    <a:pt x="1676633" y="579447"/>
                    <a:pt x="1680000" y="583825"/>
                    <a:pt x="1692796" y="583825"/>
                  </a:cubicBezTo>
                  <a:cubicBezTo>
                    <a:pt x="1713337" y="583825"/>
                    <a:pt x="1734215" y="581467"/>
                    <a:pt x="1754756" y="585845"/>
                  </a:cubicBezTo>
                  <a:cubicBezTo>
                    <a:pt x="1750042" y="593253"/>
                    <a:pt x="1742634" y="593253"/>
                    <a:pt x="1735562" y="593253"/>
                  </a:cubicBezTo>
                  <a:cubicBezTo>
                    <a:pt x="1723103" y="593590"/>
                    <a:pt x="1710980" y="593253"/>
                    <a:pt x="1698521" y="593590"/>
                  </a:cubicBezTo>
                  <a:cubicBezTo>
                    <a:pt x="1688755" y="593590"/>
                    <a:pt x="1684378" y="598304"/>
                    <a:pt x="1684378" y="608070"/>
                  </a:cubicBezTo>
                  <a:cubicBezTo>
                    <a:pt x="1684378" y="622213"/>
                    <a:pt x="1684378" y="636019"/>
                    <a:pt x="1684378" y="650162"/>
                  </a:cubicBezTo>
                  <a:cubicBezTo>
                    <a:pt x="1684378" y="657571"/>
                    <a:pt x="1684041" y="664642"/>
                    <a:pt x="1678316" y="670367"/>
                  </a:cubicBezTo>
                  <a:cubicBezTo>
                    <a:pt x="1677979" y="735021"/>
                    <a:pt x="1677643" y="799339"/>
                    <a:pt x="1677643" y="863993"/>
                  </a:cubicBezTo>
                  <a:cubicBezTo>
                    <a:pt x="1677643" y="923596"/>
                    <a:pt x="1677643" y="982862"/>
                    <a:pt x="1677643" y="1042465"/>
                  </a:cubicBezTo>
                  <a:cubicBezTo>
                    <a:pt x="1677643" y="1064690"/>
                    <a:pt x="1675286" y="1067384"/>
                    <a:pt x="1652387" y="1067384"/>
                  </a:cubicBezTo>
                  <a:cubicBezTo>
                    <a:pt x="1621407" y="1067384"/>
                    <a:pt x="1590764" y="1067384"/>
                    <a:pt x="1559783" y="1067384"/>
                  </a:cubicBezTo>
                  <a:cubicBezTo>
                    <a:pt x="1193409" y="1067384"/>
                    <a:pt x="826699" y="1067384"/>
                    <a:pt x="460325" y="1067384"/>
                  </a:cubicBezTo>
                  <a:cubicBezTo>
                    <a:pt x="312159" y="1067384"/>
                    <a:pt x="164330" y="1067048"/>
                    <a:pt x="16164" y="1067384"/>
                  </a:cubicBezTo>
                  <a:cubicBezTo>
                    <a:pt x="3031" y="1067384"/>
                    <a:pt x="0" y="1061997"/>
                    <a:pt x="0" y="1050211"/>
                  </a:cubicBezTo>
                  <a:cubicBezTo>
                    <a:pt x="337" y="1020577"/>
                    <a:pt x="0" y="990607"/>
                    <a:pt x="0" y="960974"/>
                  </a:cubicBezTo>
                  <a:cubicBezTo>
                    <a:pt x="0" y="656224"/>
                    <a:pt x="0" y="351473"/>
                    <a:pt x="0" y="46723"/>
                  </a:cubicBezTo>
                  <a:cubicBezTo>
                    <a:pt x="0" y="7324"/>
                    <a:pt x="0" y="7324"/>
                    <a:pt x="39399" y="7324"/>
                  </a:cubicBezTo>
                  <a:cubicBezTo>
                    <a:pt x="326639" y="7324"/>
                    <a:pt x="614215" y="7324"/>
                    <a:pt x="901455" y="7324"/>
                  </a:cubicBezTo>
                  <a:cubicBezTo>
                    <a:pt x="909874" y="7324"/>
                    <a:pt x="918292" y="8334"/>
                    <a:pt x="926374" y="4293"/>
                  </a:cubicBezTo>
                  <a:cubicBezTo>
                    <a:pt x="933445" y="252"/>
                    <a:pt x="941527" y="252"/>
                    <a:pt x="949272" y="252"/>
                  </a:cubicBezTo>
                  <a:cubicBezTo>
                    <a:pt x="1159399" y="252"/>
                    <a:pt x="1369525" y="252"/>
                    <a:pt x="1579988" y="252"/>
                  </a:cubicBezTo>
                  <a:cubicBezTo>
                    <a:pt x="1587733" y="252"/>
                    <a:pt x="1595478" y="1936"/>
                    <a:pt x="1603560" y="926"/>
                  </a:cubicBezTo>
                  <a:cubicBezTo>
                    <a:pt x="1622754" y="-421"/>
                    <a:pt x="1641611" y="-84"/>
                    <a:pt x="1660806" y="589"/>
                  </a:cubicBezTo>
                  <a:cubicBezTo>
                    <a:pt x="1677979" y="1263"/>
                    <a:pt x="1683704" y="7324"/>
                    <a:pt x="1684714" y="24161"/>
                  </a:cubicBezTo>
                  <a:cubicBezTo>
                    <a:pt x="1685388" y="39988"/>
                    <a:pt x="1685051" y="55478"/>
                    <a:pt x="1684714" y="71305"/>
                  </a:cubicBezTo>
                  <a:cubicBezTo>
                    <a:pt x="1683704" y="77703"/>
                    <a:pt x="1683031" y="83764"/>
                    <a:pt x="1677643" y="88142"/>
                  </a:cubicBezTo>
                  <a:close/>
                </a:path>
              </a:pathLst>
            </a:custGeom>
            <a:solidFill>
              <a:srgbClr val="6F7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0989" name="Freeform: Shape 11">
              <a:extLst>
                <a:ext uri="{FF2B5EF4-FFF2-40B4-BE49-F238E27FC236}">
                  <a16:creationId xmlns:a16="http://schemas.microsoft.com/office/drawing/2014/main" id="{4D69B004-9C94-8605-E35B-F1AB3997B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5530" y="3239693"/>
              <a:ext cx="414221" cy="800660"/>
            </a:xfrm>
            <a:custGeom>
              <a:avLst/>
              <a:gdLst>
                <a:gd name="T0" fmla="*/ 162099 w 414221"/>
                <a:gd name="T1" fmla="*/ 654491 h 800660"/>
                <a:gd name="T2" fmla="*/ 102833 w 414221"/>
                <a:gd name="T3" fmla="*/ 528213 h 800660"/>
                <a:gd name="T4" fmla="*/ 59730 w 414221"/>
                <a:gd name="T5" fmla="*/ 455477 h 800660"/>
                <a:gd name="T6" fmla="*/ 36158 w 414221"/>
                <a:gd name="T7" fmla="*/ 425507 h 800660"/>
                <a:gd name="T8" fmla="*/ 1474 w 414221"/>
                <a:gd name="T9" fmla="*/ 240637 h 800660"/>
                <a:gd name="T10" fmla="*/ 31781 w 414221"/>
                <a:gd name="T11" fmla="*/ 222116 h 800660"/>
                <a:gd name="T12" fmla="*/ 43567 w 414221"/>
                <a:gd name="T13" fmla="*/ 236596 h 800660"/>
                <a:gd name="T14" fmla="*/ 53332 w 414221"/>
                <a:gd name="T15" fmla="*/ 263535 h 800660"/>
                <a:gd name="T16" fmla="*/ 66128 w 414221"/>
                <a:gd name="T17" fmla="*/ 271954 h 800660"/>
                <a:gd name="T18" fmla="*/ 74884 w 414221"/>
                <a:gd name="T19" fmla="*/ 259831 h 800660"/>
                <a:gd name="T20" fmla="*/ 74884 w 414221"/>
                <a:gd name="T21" fmla="*/ 242994 h 800660"/>
                <a:gd name="T22" fmla="*/ 70843 w 414221"/>
                <a:gd name="T23" fmla="*/ 130859 h 800660"/>
                <a:gd name="T24" fmla="*/ 77241 w 414221"/>
                <a:gd name="T25" fmla="*/ 56103 h 800660"/>
                <a:gd name="T26" fmla="*/ 91721 w 414221"/>
                <a:gd name="T27" fmla="*/ 6939 h 800660"/>
                <a:gd name="T28" fmla="*/ 131793 w 414221"/>
                <a:gd name="T29" fmla="*/ 1214 h 800660"/>
                <a:gd name="T30" fmla="*/ 178600 w 414221"/>
                <a:gd name="T31" fmla="*/ 3571 h 800660"/>
                <a:gd name="T32" fmla="*/ 410614 w 414221"/>
                <a:gd name="T33" fmla="*/ 6939 h 800660"/>
                <a:gd name="T34" fmla="*/ 403543 w 414221"/>
                <a:gd name="T35" fmla="*/ 800300 h 800660"/>
                <a:gd name="T36" fmla="*/ 279622 w 414221"/>
                <a:gd name="T37" fmla="*/ 765279 h 800660"/>
                <a:gd name="T38" fmla="*/ 162099 w 414221"/>
                <a:gd name="T39" fmla="*/ 654491 h 80066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414221" h="800660">
                  <a:moveTo>
                    <a:pt x="162099" y="654491"/>
                  </a:moveTo>
                  <a:cubicBezTo>
                    <a:pt x="122027" y="621827"/>
                    <a:pt x="105527" y="577714"/>
                    <a:pt x="102833" y="528213"/>
                  </a:cubicBezTo>
                  <a:cubicBezTo>
                    <a:pt x="100812" y="495550"/>
                    <a:pt x="87343" y="471641"/>
                    <a:pt x="59730" y="455477"/>
                  </a:cubicBezTo>
                  <a:cubicBezTo>
                    <a:pt x="47607" y="448406"/>
                    <a:pt x="42556" y="436283"/>
                    <a:pt x="36158" y="425507"/>
                  </a:cubicBezTo>
                  <a:cubicBezTo>
                    <a:pt x="3494" y="367925"/>
                    <a:pt x="-3577" y="305291"/>
                    <a:pt x="1474" y="240637"/>
                  </a:cubicBezTo>
                  <a:cubicBezTo>
                    <a:pt x="2821" y="223463"/>
                    <a:pt x="8882" y="220432"/>
                    <a:pt x="31781" y="222116"/>
                  </a:cubicBezTo>
                  <a:cubicBezTo>
                    <a:pt x="40536" y="222789"/>
                    <a:pt x="41209" y="230535"/>
                    <a:pt x="43567" y="236596"/>
                  </a:cubicBezTo>
                  <a:cubicBezTo>
                    <a:pt x="47271" y="245351"/>
                    <a:pt x="49291" y="254780"/>
                    <a:pt x="53332" y="263535"/>
                  </a:cubicBezTo>
                  <a:cubicBezTo>
                    <a:pt x="56026" y="269260"/>
                    <a:pt x="59730" y="272627"/>
                    <a:pt x="66128" y="271954"/>
                  </a:cubicBezTo>
                  <a:cubicBezTo>
                    <a:pt x="73537" y="271280"/>
                    <a:pt x="74547" y="265556"/>
                    <a:pt x="74884" y="259831"/>
                  </a:cubicBezTo>
                  <a:cubicBezTo>
                    <a:pt x="75220" y="254106"/>
                    <a:pt x="75557" y="248382"/>
                    <a:pt x="74884" y="242994"/>
                  </a:cubicBezTo>
                  <a:cubicBezTo>
                    <a:pt x="69159" y="205616"/>
                    <a:pt x="72190" y="168237"/>
                    <a:pt x="70843" y="130859"/>
                  </a:cubicBezTo>
                  <a:cubicBezTo>
                    <a:pt x="70169" y="105940"/>
                    <a:pt x="69159" y="80348"/>
                    <a:pt x="77241" y="56103"/>
                  </a:cubicBezTo>
                  <a:cubicBezTo>
                    <a:pt x="82965" y="38592"/>
                    <a:pt x="79261" y="20745"/>
                    <a:pt x="91721" y="6939"/>
                  </a:cubicBezTo>
                  <a:cubicBezTo>
                    <a:pt x="99802" y="-1143"/>
                    <a:pt x="121690" y="-806"/>
                    <a:pt x="131793" y="1214"/>
                  </a:cubicBezTo>
                  <a:cubicBezTo>
                    <a:pt x="147283" y="4245"/>
                    <a:pt x="163110" y="3571"/>
                    <a:pt x="178600" y="3571"/>
                  </a:cubicBezTo>
                  <a:cubicBezTo>
                    <a:pt x="304541" y="3571"/>
                    <a:pt x="416002" y="11316"/>
                    <a:pt x="410614" y="6939"/>
                  </a:cubicBezTo>
                  <a:cubicBezTo>
                    <a:pt x="419369" y="17378"/>
                    <a:pt x="410277" y="799290"/>
                    <a:pt x="403543" y="800300"/>
                  </a:cubicBezTo>
                  <a:cubicBezTo>
                    <a:pt x="346633" y="801984"/>
                    <a:pt x="312959" y="798953"/>
                    <a:pt x="279622" y="765279"/>
                  </a:cubicBezTo>
                  <a:cubicBezTo>
                    <a:pt x="256050" y="740023"/>
                    <a:pt x="168161" y="659542"/>
                    <a:pt x="162099" y="654491"/>
                  </a:cubicBezTo>
                  <a:close/>
                </a:path>
              </a:pathLst>
            </a:custGeom>
            <a:solidFill>
              <a:srgbClr val="EEC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0990" name="Freeform: Shape 12">
              <a:extLst>
                <a:ext uri="{FF2B5EF4-FFF2-40B4-BE49-F238E27FC236}">
                  <a16:creationId xmlns:a16="http://schemas.microsoft.com/office/drawing/2014/main" id="{E93AE17D-BFD0-FCE8-7A15-63F903448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9073" y="3245568"/>
              <a:ext cx="398610" cy="793450"/>
            </a:xfrm>
            <a:custGeom>
              <a:avLst/>
              <a:gdLst>
                <a:gd name="T0" fmla="*/ 0 w 398610"/>
                <a:gd name="T1" fmla="*/ 793415 h 793450"/>
                <a:gd name="T2" fmla="*/ 7071 w 398610"/>
                <a:gd name="T3" fmla="*/ 54 h 793450"/>
                <a:gd name="T4" fmla="*/ 279495 w 398610"/>
                <a:gd name="T5" fmla="*/ 727 h 793450"/>
                <a:gd name="T6" fmla="*/ 291954 w 398610"/>
                <a:gd name="T7" fmla="*/ 5105 h 793450"/>
                <a:gd name="T8" fmla="*/ 324281 w 398610"/>
                <a:gd name="T9" fmla="*/ 99729 h 793450"/>
                <a:gd name="T10" fmla="*/ 318220 w 398610"/>
                <a:gd name="T11" fmla="*/ 243517 h 793450"/>
                <a:gd name="T12" fmla="*/ 317883 w 398610"/>
                <a:gd name="T13" fmla="*/ 251936 h 793450"/>
                <a:gd name="T14" fmla="*/ 325292 w 398610"/>
                <a:gd name="T15" fmla="*/ 265406 h 793450"/>
                <a:gd name="T16" fmla="*/ 341118 w 398610"/>
                <a:gd name="T17" fmla="*/ 256314 h 793450"/>
                <a:gd name="T18" fmla="*/ 351894 w 398610"/>
                <a:gd name="T19" fmla="*/ 224660 h 793450"/>
                <a:gd name="T20" fmla="*/ 364690 w 398610"/>
                <a:gd name="T21" fmla="*/ 209507 h 793450"/>
                <a:gd name="T22" fmla="*/ 398364 w 398610"/>
                <a:gd name="T23" fmla="*/ 243517 h 793450"/>
                <a:gd name="T24" fmla="*/ 371425 w 398610"/>
                <a:gd name="T25" fmla="*/ 407510 h 793450"/>
                <a:gd name="T26" fmla="*/ 346506 w 398610"/>
                <a:gd name="T27" fmla="*/ 440511 h 793450"/>
                <a:gd name="T28" fmla="*/ 290607 w 398610"/>
                <a:gd name="T29" fmla="*/ 554666 h 793450"/>
                <a:gd name="T30" fmla="*/ 246494 w 398610"/>
                <a:gd name="T31" fmla="*/ 639862 h 793450"/>
                <a:gd name="T32" fmla="*/ 143115 w 398610"/>
                <a:gd name="T33" fmla="*/ 735833 h 793450"/>
                <a:gd name="T34" fmla="*/ 77787 w 398610"/>
                <a:gd name="T35" fmla="*/ 783313 h 793450"/>
                <a:gd name="T36" fmla="*/ 0 w 398610"/>
                <a:gd name="T37" fmla="*/ 793415 h 79345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98610" h="793450">
                  <a:moveTo>
                    <a:pt x="0" y="793415"/>
                  </a:moveTo>
                  <a:cubicBezTo>
                    <a:pt x="0" y="779946"/>
                    <a:pt x="9092" y="37769"/>
                    <a:pt x="7071" y="54"/>
                  </a:cubicBezTo>
                  <a:cubicBezTo>
                    <a:pt x="66338" y="54"/>
                    <a:pt x="251209" y="-283"/>
                    <a:pt x="279495" y="727"/>
                  </a:cubicBezTo>
                  <a:cubicBezTo>
                    <a:pt x="283872" y="727"/>
                    <a:pt x="288250" y="2411"/>
                    <a:pt x="291954" y="5105"/>
                  </a:cubicBezTo>
                  <a:cubicBezTo>
                    <a:pt x="316873" y="31708"/>
                    <a:pt x="322934" y="65382"/>
                    <a:pt x="324281" y="99729"/>
                  </a:cubicBezTo>
                  <a:cubicBezTo>
                    <a:pt x="325965" y="147883"/>
                    <a:pt x="321924" y="195700"/>
                    <a:pt x="318220" y="243517"/>
                  </a:cubicBezTo>
                  <a:cubicBezTo>
                    <a:pt x="317883" y="246211"/>
                    <a:pt x="317883" y="249242"/>
                    <a:pt x="317883" y="251936"/>
                  </a:cubicBezTo>
                  <a:cubicBezTo>
                    <a:pt x="318220" y="257661"/>
                    <a:pt x="317883" y="263722"/>
                    <a:pt x="325292" y="265406"/>
                  </a:cubicBezTo>
                  <a:cubicBezTo>
                    <a:pt x="333037" y="267089"/>
                    <a:pt x="338088" y="263385"/>
                    <a:pt x="341118" y="256314"/>
                  </a:cubicBezTo>
                  <a:cubicBezTo>
                    <a:pt x="345496" y="245875"/>
                    <a:pt x="348527" y="235099"/>
                    <a:pt x="351894" y="224660"/>
                  </a:cubicBezTo>
                  <a:cubicBezTo>
                    <a:pt x="354251" y="217925"/>
                    <a:pt x="355262" y="210180"/>
                    <a:pt x="364690" y="209507"/>
                  </a:cubicBezTo>
                  <a:cubicBezTo>
                    <a:pt x="389609" y="210854"/>
                    <a:pt x="397691" y="218599"/>
                    <a:pt x="398364" y="243517"/>
                  </a:cubicBezTo>
                  <a:cubicBezTo>
                    <a:pt x="400048" y="300090"/>
                    <a:pt x="393313" y="354979"/>
                    <a:pt x="371425" y="407510"/>
                  </a:cubicBezTo>
                  <a:cubicBezTo>
                    <a:pt x="366037" y="420643"/>
                    <a:pt x="357619" y="431419"/>
                    <a:pt x="346506" y="440511"/>
                  </a:cubicBezTo>
                  <a:cubicBezTo>
                    <a:pt x="310138" y="469807"/>
                    <a:pt x="289597" y="506175"/>
                    <a:pt x="290607" y="554666"/>
                  </a:cubicBezTo>
                  <a:cubicBezTo>
                    <a:pt x="291281" y="589687"/>
                    <a:pt x="272087" y="618984"/>
                    <a:pt x="246494" y="639862"/>
                  </a:cubicBezTo>
                  <a:cubicBezTo>
                    <a:pt x="220228" y="661076"/>
                    <a:pt x="154901" y="716638"/>
                    <a:pt x="143115" y="735833"/>
                  </a:cubicBezTo>
                  <a:cubicBezTo>
                    <a:pt x="126951" y="762098"/>
                    <a:pt x="105400" y="772537"/>
                    <a:pt x="77787" y="783313"/>
                  </a:cubicBezTo>
                  <a:cubicBezTo>
                    <a:pt x="55899" y="791732"/>
                    <a:pt x="28286" y="793752"/>
                    <a:pt x="0" y="793415"/>
                  </a:cubicBezTo>
                  <a:close/>
                </a:path>
              </a:pathLst>
            </a:custGeom>
            <a:solidFill>
              <a:srgbClr val="F8CE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D25FBB7-A176-1266-5C9B-CDD95D571443}"/>
                </a:ext>
              </a:extLst>
            </p:cNvPr>
            <p:cNvSpPr/>
            <p:nvPr/>
          </p:nvSpPr>
          <p:spPr>
            <a:xfrm>
              <a:off x="7216181" y="4016937"/>
              <a:ext cx="540929" cy="373632"/>
            </a:xfrm>
            <a:custGeom>
              <a:avLst/>
              <a:gdLst>
                <a:gd name="connsiteX0" fmla="*/ 155593 w 540487"/>
                <a:gd name="connsiteY0" fmla="*/ 371088 h 373108"/>
                <a:gd name="connsiteX1" fmla="*/ 21907 w 540487"/>
                <a:gd name="connsiteY1" fmla="*/ 125941 h 373108"/>
                <a:gd name="connsiteX2" fmla="*/ 1366 w 540487"/>
                <a:gd name="connsiteY2" fmla="*/ 115502 h 373108"/>
                <a:gd name="connsiteX3" fmla="*/ 5070 w 540487"/>
                <a:gd name="connsiteY3" fmla="*/ 97318 h 373108"/>
                <a:gd name="connsiteX4" fmla="*/ 49856 w 540487"/>
                <a:gd name="connsiteY4" fmla="*/ 0 h 373108"/>
                <a:gd name="connsiteX5" fmla="*/ 258299 w 540487"/>
                <a:gd name="connsiteY5" fmla="*/ 176452 h 373108"/>
                <a:gd name="connsiteX6" fmla="*/ 286922 w 540487"/>
                <a:gd name="connsiteY6" fmla="*/ 177126 h 373108"/>
                <a:gd name="connsiteX7" fmla="*/ 499405 w 540487"/>
                <a:gd name="connsiteY7" fmla="*/ 337 h 373108"/>
                <a:gd name="connsiteX8" fmla="*/ 540488 w 540487"/>
                <a:gd name="connsiteY8" fmla="*/ 116849 h 373108"/>
                <a:gd name="connsiteX9" fmla="*/ 520283 w 540487"/>
                <a:gd name="connsiteY9" fmla="*/ 129308 h 373108"/>
                <a:gd name="connsiteX10" fmla="*/ 442159 w 540487"/>
                <a:gd name="connsiteY10" fmla="*/ 284209 h 373108"/>
                <a:gd name="connsiteX11" fmla="*/ 399057 w 540487"/>
                <a:gd name="connsiteY11" fmla="*/ 372772 h 373108"/>
                <a:gd name="connsiteX12" fmla="*/ 395689 w 540487"/>
                <a:gd name="connsiteY12" fmla="*/ 373109 h 373108"/>
                <a:gd name="connsiteX13" fmla="*/ 285238 w 540487"/>
                <a:gd name="connsiteY13" fmla="*/ 231004 h 373108"/>
                <a:gd name="connsiteX14" fmla="*/ 264023 w 540487"/>
                <a:gd name="connsiteY14" fmla="*/ 230667 h 373108"/>
                <a:gd name="connsiteX15" fmla="*/ 155593 w 540487"/>
                <a:gd name="connsiteY15" fmla="*/ 371088 h 373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40487" h="373108">
                  <a:moveTo>
                    <a:pt x="155593" y="371088"/>
                  </a:moveTo>
                  <a:cubicBezTo>
                    <a:pt x="110470" y="288587"/>
                    <a:pt x="66020" y="207432"/>
                    <a:pt x="21907" y="125941"/>
                  </a:cubicBezTo>
                  <a:cubicBezTo>
                    <a:pt x="16856" y="116512"/>
                    <a:pt x="11805" y="111798"/>
                    <a:pt x="1366" y="115502"/>
                  </a:cubicBezTo>
                  <a:cubicBezTo>
                    <a:pt x="-2339" y="108430"/>
                    <a:pt x="2376" y="103043"/>
                    <a:pt x="5070" y="97318"/>
                  </a:cubicBezTo>
                  <a:cubicBezTo>
                    <a:pt x="19886" y="64991"/>
                    <a:pt x="34703" y="32327"/>
                    <a:pt x="49856" y="0"/>
                  </a:cubicBezTo>
                  <a:cubicBezTo>
                    <a:pt x="69724" y="12123"/>
                    <a:pt x="244492" y="161972"/>
                    <a:pt x="258299" y="176452"/>
                  </a:cubicBezTo>
                  <a:cubicBezTo>
                    <a:pt x="268064" y="186554"/>
                    <a:pt x="276483" y="186554"/>
                    <a:pt x="286922" y="177126"/>
                  </a:cubicBezTo>
                  <a:cubicBezTo>
                    <a:pt x="333392" y="135707"/>
                    <a:pt x="484925" y="3031"/>
                    <a:pt x="499405" y="337"/>
                  </a:cubicBezTo>
                  <a:cubicBezTo>
                    <a:pt x="513212" y="39062"/>
                    <a:pt x="526681" y="78124"/>
                    <a:pt x="540488" y="116849"/>
                  </a:cubicBezTo>
                  <a:cubicBezTo>
                    <a:pt x="526008" y="108767"/>
                    <a:pt x="524324" y="121563"/>
                    <a:pt x="520283" y="129308"/>
                  </a:cubicBezTo>
                  <a:cubicBezTo>
                    <a:pt x="494017" y="180830"/>
                    <a:pt x="468088" y="232351"/>
                    <a:pt x="442159" y="284209"/>
                  </a:cubicBezTo>
                  <a:cubicBezTo>
                    <a:pt x="427343" y="313506"/>
                    <a:pt x="410169" y="341792"/>
                    <a:pt x="399057" y="372772"/>
                  </a:cubicBezTo>
                  <a:cubicBezTo>
                    <a:pt x="399057" y="373109"/>
                    <a:pt x="397036" y="372772"/>
                    <a:pt x="395689" y="373109"/>
                  </a:cubicBezTo>
                  <a:cubicBezTo>
                    <a:pt x="386934" y="373109"/>
                    <a:pt x="302412" y="254913"/>
                    <a:pt x="285238" y="231004"/>
                  </a:cubicBezTo>
                  <a:cubicBezTo>
                    <a:pt x="275473" y="217198"/>
                    <a:pt x="274126" y="217535"/>
                    <a:pt x="264023" y="230667"/>
                  </a:cubicBezTo>
                  <a:cubicBezTo>
                    <a:pt x="250217" y="248515"/>
                    <a:pt x="173440" y="346843"/>
                    <a:pt x="155593" y="37108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363" cap="flat">
              <a:noFill/>
              <a:prstDash val="solid"/>
              <a:miter/>
            </a:ln>
          </p:spPr>
          <p:txBody>
            <a:bodyPr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0992" name="Freeform: Shape 14">
              <a:extLst>
                <a:ext uri="{FF2B5EF4-FFF2-40B4-BE49-F238E27FC236}">
                  <a16:creationId xmlns:a16="http://schemas.microsoft.com/office/drawing/2014/main" id="{E2BCCFE3-0697-D04B-DA3D-4820A9A2F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1731" y="3246632"/>
              <a:ext cx="90667" cy="272678"/>
            </a:xfrm>
            <a:custGeom>
              <a:avLst/>
              <a:gdLst>
                <a:gd name="T0" fmla="*/ 6049 w 90667"/>
                <a:gd name="T1" fmla="*/ 59603 h 272678"/>
                <a:gd name="T2" fmla="*/ 1334 w 90667"/>
                <a:gd name="T3" fmla="*/ 14817 h 272678"/>
                <a:gd name="T4" fmla="*/ 5038 w 90667"/>
                <a:gd name="T5" fmla="*/ 0 h 272678"/>
                <a:gd name="T6" fmla="*/ 90234 w 90667"/>
                <a:gd name="T7" fmla="*/ 1010 h 272678"/>
                <a:gd name="T8" fmla="*/ 70703 w 90667"/>
                <a:gd name="T9" fmla="*/ 128298 h 272678"/>
                <a:gd name="T10" fmla="*/ 75754 w 90667"/>
                <a:gd name="T11" fmla="*/ 256260 h 272678"/>
                <a:gd name="T12" fmla="*/ 70703 w 90667"/>
                <a:gd name="T13" fmla="*/ 270740 h 272678"/>
                <a:gd name="T14" fmla="*/ 41743 w 90667"/>
                <a:gd name="T15" fmla="*/ 262995 h 272678"/>
                <a:gd name="T16" fmla="*/ 25580 w 90667"/>
                <a:gd name="T17" fmla="*/ 215514 h 272678"/>
                <a:gd name="T18" fmla="*/ 6049 w 90667"/>
                <a:gd name="T19" fmla="*/ 59603 h 27267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0667" h="272678">
                  <a:moveTo>
                    <a:pt x="6049" y="59603"/>
                  </a:moveTo>
                  <a:cubicBezTo>
                    <a:pt x="5038" y="37715"/>
                    <a:pt x="661" y="29633"/>
                    <a:pt x="1334" y="14817"/>
                  </a:cubicBezTo>
                  <a:cubicBezTo>
                    <a:pt x="1671" y="6061"/>
                    <a:pt x="-3717" y="337"/>
                    <a:pt x="5038" y="0"/>
                  </a:cubicBezTo>
                  <a:cubicBezTo>
                    <a:pt x="28274" y="0"/>
                    <a:pt x="66999" y="673"/>
                    <a:pt x="90234" y="1010"/>
                  </a:cubicBezTo>
                  <a:cubicBezTo>
                    <a:pt x="94275" y="1010"/>
                    <a:pt x="68682" y="84859"/>
                    <a:pt x="70703" y="128298"/>
                  </a:cubicBezTo>
                  <a:cubicBezTo>
                    <a:pt x="72723" y="170728"/>
                    <a:pt x="74407" y="213494"/>
                    <a:pt x="75754" y="256260"/>
                  </a:cubicBezTo>
                  <a:cubicBezTo>
                    <a:pt x="75754" y="261311"/>
                    <a:pt x="80805" y="271076"/>
                    <a:pt x="70703" y="270740"/>
                  </a:cubicBezTo>
                  <a:cubicBezTo>
                    <a:pt x="60937" y="270403"/>
                    <a:pt x="47468" y="278821"/>
                    <a:pt x="41743" y="262995"/>
                  </a:cubicBezTo>
                  <a:cubicBezTo>
                    <a:pt x="36019" y="247168"/>
                    <a:pt x="30967" y="231341"/>
                    <a:pt x="25580" y="215514"/>
                  </a:cubicBezTo>
                  <a:cubicBezTo>
                    <a:pt x="17835" y="169044"/>
                    <a:pt x="6385" y="65328"/>
                    <a:pt x="6049" y="59603"/>
                  </a:cubicBezTo>
                  <a:close/>
                </a:path>
              </a:pathLst>
            </a:custGeom>
            <a:solidFill>
              <a:srgbClr val="4F4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0993" name="Freeform: Shape 15">
              <a:extLst>
                <a:ext uri="{FF2B5EF4-FFF2-40B4-BE49-F238E27FC236}">
                  <a16:creationId xmlns:a16="http://schemas.microsoft.com/office/drawing/2014/main" id="{9CD41BC8-C6F9-580E-EB12-45F1377F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027" y="3247183"/>
              <a:ext cx="93277" cy="268431"/>
            </a:xfrm>
            <a:custGeom>
              <a:avLst/>
              <a:gdLst>
                <a:gd name="T0" fmla="*/ 0 w 93277"/>
                <a:gd name="T1" fmla="*/ 459 h 268431"/>
                <a:gd name="T2" fmla="*/ 64654 w 93277"/>
                <a:gd name="T3" fmla="*/ 2479 h 268431"/>
                <a:gd name="T4" fmla="*/ 93277 w 93277"/>
                <a:gd name="T5" fmla="*/ 2479 h 268431"/>
                <a:gd name="T6" fmla="*/ 73746 w 93277"/>
                <a:gd name="T7" fmla="*/ 187687 h 268431"/>
                <a:gd name="T8" fmla="*/ 73073 w 93277"/>
                <a:gd name="T9" fmla="*/ 204524 h 268431"/>
                <a:gd name="T10" fmla="*/ 55562 w 93277"/>
                <a:gd name="T11" fmla="*/ 256719 h 268431"/>
                <a:gd name="T12" fmla="*/ 26266 w 93277"/>
                <a:gd name="T13" fmla="*/ 267158 h 268431"/>
                <a:gd name="T14" fmla="*/ 19868 w 93277"/>
                <a:gd name="T15" fmla="*/ 250657 h 268431"/>
                <a:gd name="T16" fmla="*/ 25592 w 93277"/>
                <a:gd name="T17" fmla="*/ 114951 h 268431"/>
                <a:gd name="T18" fmla="*/ 0 w 93277"/>
                <a:gd name="T19" fmla="*/ 459 h 2684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3277" h="268431">
                  <a:moveTo>
                    <a:pt x="0" y="459"/>
                  </a:moveTo>
                  <a:cubicBezTo>
                    <a:pt x="24919" y="-1562"/>
                    <a:pt x="42766" y="3826"/>
                    <a:pt x="64654" y="2479"/>
                  </a:cubicBezTo>
                  <a:cubicBezTo>
                    <a:pt x="74083" y="1806"/>
                    <a:pt x="83848" y="2479"/>
                    <a:pt x="93277" y="2479"/>
                  </a:cubicBezTo>
                  <a:cubicBezTo>
                    <a:pt x="91257" y="64776"/>
                    <a:pt x="87889" y="126737"/>
                    <a:pt x="73746" y="187687"/>
                  </a:cubicBezTo>
                  <a:cubicBezTo>
                    <a:pt x="72399" y="193075"/>
                    <a:pt x="73073" y="198799"/>
                    <a:pt x="73073" y="204524"/>
                  </a:cubicBezTo>
                  <a:cubicBezTo>
                    <a:pt x="63981" y="220687"/>
                    <a:pt x="61624" y="239208"/>
                    <a:pt x="55562" y="256719"/>
                  </a:cubicBezTo>
                  <a:cubicBezTo>
                    <a:pt x="49501" y="274229"/>
                    <a:pt x="36368" y="266821"/>
                    <a:pt x="26266" y="267158"/>
                  </a:cubicBezTo>
                  <a:cubicBezTo>
                    <a:pt x="13806" y="267158"/>
                    <a:pt x="19868" y="256045"/>
                    <a:pt x="19868" y="250657"/>
                  </a:cubicBezTo>
                  <a:cubicBezTo>
                    <a:pt x="21215" y="205534"/>
                    <a:pt x="23235" y="160074"/>
                    <a:pt x="25592" y="114951"/>
                  </a:cubicBezTo>
                  <a:cubicBezTo>
                    <a:pt x="27613" y="75552"/>
                    <a:pt x="21215" y="33796"/>
                    <a:pt x="0" y="459"/>
                  </a:cubicBezTo>
                  <a:close/>
                </a:path>
              </a:pathLst>
            </a:custGeom>
            <a:solidFill>
              <a:srgbClr val="4E4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0994" name="Freeform: Shape 16">
              <a:extLst>
                <a:ext uri="{FF2B5EF4-FFF2-40B4-BE49-F238E27FC236}">
                  <a16:creationId xmlns:a16="http://schemas.microsoft.com/office/drawing/2014/main" id="{FF3CE2C5-526C-4384-3143-0D67E65D0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3435" y="2619681"/>
              <a:ext cx="146970" cy="78970"/>
            </a:xfrm>
            <a:custGeom>
              <a:avLst/>
              <a:gdLst>
                <a:gd name="T0" fmla="*/ 135385 w 146970"/>
                <a:gd name="T1" fmla="*/ 21154 h 78970"/>
                <a:gd name="T2" fmla="*/ 141783 w 146970"/>
                <a:gd name="T3" fmla="*/ 68298 h 78970"/>
                <a:gd name="T4" fmla="*/ 13485 w 146970"/>
                <a:gd name="T5" fmla="*/ 56849 h 78970"/>
                <a:gd name="T6" fmla="*/ 10117 w 146970"/>
                <a:gd name="T7" fmla="*/ 12736 h 78970"/>
                <a:gd name="T8" fmla="*/ 135385 w 146970"/>
                <a:gd name="T9" fmla="*/ 21154 h 789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6970" h="78970">
                  <a:moveTo>
                    <a:pt x="135385" y="21154"/>
                  </a:moveTo>
                  <a:cubicBezTo>
                    <a:pt x="149528" y="44726"/>
                    <a:pt x="149528" y="59206"/>
                    <a:pt x="141783" y="68298"/>
                  </a:cubicBezTo>
                  <a:cubicBezTo>
                    <a:pt x="96997" y="85472"/>
                    <a:pt x="54230" y="82104"/>
                    <a:pt x="13485" y="56849"/>
                  </a:cubicBezTo>
                  <a:cubicBezTo>
                    <a:pt x="-3352" y="46410"/>
                    <a:pt x="-4362" y="24522"/>
                    <a:pt x="10117" y="12736"/>
                  </a:cubicBezTo>
                  <a:cubicBezTo>
                    <a:pt x="34363" y="-6795"/>
                    <a:pt x="117538" y="-3765"/>
                    <a:pt x="135385" y="21154"/>
                  </a:cubicBezTo>
                  <a:close/>
                </a:path>
              </a:pathLst>
            </a:custGeom>
            <a:solidFill>
              <a:srgbClr val="1A21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0995" name="Freeform: Shape 17">
              <a:extLst>
                <a:ext uri="{FF2B5EF4-FFF2-40B4-BE49-F238E27FC236}">
                  <a16:creationId xmlns:a16="http://schemas.microsoft.com/office/drawing/2014/main" id="{E08D05F3-7CDC-96D3-B1EF-2E8200B18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3102" y="4558911"/>
              <a:ext cx="1584365" cy="946241"/>
            </a:xfrm>
            <a:custGeom>
              <a:avLst/>
              <a:gdLst>
                <a:gd name="T0" fmla="*/ 792014 w 1584365"/>
                <a:gd name="T1" fmla="*/ 337 h 946241"/>
                <a:gd name="T2" fmla="*/ 1566518 w 1584365"/>
                <a:gd name="T3" fmla="*/ 0 h 946241"/>
                <a:gd name="T4" fmla="*/ 1584366 w 1584365"/>
                <a:gd name="T5" fmla="*/ 17174 h 946241"/>
                <a:gd name="T6" fmla="*/ 1584366 w 1584365"/>
                <a:gd name="T7" fmla="*/ 928058 h 946241"/>
                <a:gd name="T8" fmla="*/ 1567192 w 1584365"/>
                <a:gd name="T9" fmla="*/ 946242 h 946241"/>
                <a:gd name="T10" fmla="*/ 23572 w 1584365"/>
                <a:gd name="T11" fmla="*/ 945905 h 946241"/>
                <a:gd name="T12" fmla="*/ 337 w 1584365"/>
                <a:gd name="T13" fmla="*/ 923007 h 946241"/>
                <a:gd name="T14" fmla="*/ 0 w 1584365"/>
                <a:gd name="T15" fmla="*/ 20541 h 946241"/>
                <a:gd name="T16" fmla="*/ 21551 w 1584365"/>
                <a:gd name="T17" fmla="*/ 0 h 946241"/>
                <a:gd name="T18" fmla="*/ 792014 w 1584365"/>
                <a:gd name="T19" fmla="*/ 337 h 946241"/>
                <a:gd name="T20" fmla="*/ 792014 w 1584365"/>
                <a:gd name="T21" fmla="*/ 337 h 9462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584365" h="946241">
                  <a:moveTo>
                    <a:pt x="792014" y="337"/>
                  </a:moveTo>
                  <a:cubicBezTo>
                    <a:pt x="1050295" y="337"/>
                    <a:pt x="1308238" y="337"/>
                    <a:pt x="1566518" y="0"/>
                  </a:cubicBezTo>
                  <a:cubicBezTo>
                    <a:pt x="1579988" y="0"/>
                    <a:pt x="1584366" y="2357"/>
                    <a:pt x="1584366" y="17174"/>
                  </a:cubicBezTo>
                  <a:cubicBezTo>
                    <a:pt x="1584029" y="320914"/>
                    <a:pt x="1584029" y="624318"/>
                    <a:pt x="1584366" y="928058"/>
                  </a:cubicBezTo>
                  <a:cubicBezTo>
                    <a:pt x="1584366" y="941191"/>
                    <a:pt x="1582008" y="946242"/>
                    <a:pt x="1567192" y="946242"/>
                  </a:cubicBezTo>
                  <a:cubicBezTo>
                    <a:pt x="1052652" y="945905"/>
                    <a:pt x="538112" y="945905"/>
                    <a:pt x="23572" y="945905"/>
                  </a:cubicBezTo>
                  <a:cubicBezTo>
                    <a:pt x="337" y="945905"/>
                    <a:pt x="337" y="945905"/>
                    <a:pt x="337" y="923007"/>
                  </a:cubicBezTo>
                  <a:cubicBezTo>
                    <a:pt x="337" y="622297"/>
                    <a:pt x="673" y="321588"/>
                    <a:pt x="0" y="20541"/>
                  </a:cubicBezTo>
                  <a:cubicBezTo>
                    <a:pt x="0" y="2694"/>
                    <a:pt x="5388" y="0"/>
                    <a:pt x="21551" y="0"/>
                  </a:cubicBezTo>
                  <a:cubicBezTo>
                    <a:pt x="278148" y="337"/>
                    <a:pt x="535081" y="337"/>
                    <a:pt x="792014" y="337"/>
                  </a:cubicBezTo>
                  <a:cubicBezTo>
                    <a:pt x="792014" y="337"/>
                    <a:pt x="792014" y="337"/>
                    <a:pt x="792014" y="337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8DE1709-75AF-4153-A580-3FE6368D18E6}"/>
                </a:ext>
              </a:extLst>
            </p:cNvPr>
            <p:cNvSpPr/>
            <p:nvPr/>
          </p:nvSpPr>
          <p:spPr>
            <a:xfrm>
              <a:off x="7424371" y="4226026"/>
              <a:ext cx="134550" cy="392722"/>
            </a:xfrm>
            <a:custGeom>
              <a:avLst/>
              <a:gdLst>
                <a:gd name="connsiteX0" fmla="*/ 0 w 134995"/>
                <a:gd name="connsiteY0" fmla="*/ 91007 h 392727"/>
                <a:gd name="connsiteX1" fmla="*/ 60613 w 134995"/>
                <a:gd name="connsiteY1" fmla="*/ 4802 h 392727"/>
                <a:gd name="connsiteX2" fmla="*/ 72736 w 134995"/>
                <a:gd name="connsiteY2" fmla="*/ 4802 h 392727"/>
                <a:gd name="connsiteX3" fmla="*/ 133686 w 134995"/>
                <a:gd name="connsiteY3" fmla="*/ 90671 h 392727"/>
                <a:gd name="connsiteX4" fmla="*/ 122910 w 134995"/>
                <a:gd name="connsiteY4" fmla="*/ 123335 h 392727"/>
                <a:gd name="connsiteX5" fmla="*/ 115165 w 134995"/>
                <a:gd name="connsiteY5" fmla="*/ 171152 h 392727"/>
                <a:gd name="connsiteX6" fmla="*/ 132002 w 134995"/>
                <a:gd name="connsiteY6" fmla="*/ 237827 h 392727"/>
                <a:gd name="connsiteX7" fmla="*/ 134023 w 134995"/>
                <a:gd name="connsiteY7" fmla="*/ 269143 h 392727"/>
                <a:gd name="connsiteX8" fmla="*/ 73409 w 134995"/>
                <a:gd name="connsiteY8" fmla="*/ 392727 h 392727"/>
                <a:gd name="connsiteX9" fmla="*/ 20204 w 134995"/>
                <a:gd name="connsiteY9" fmla="*/ 296083 h 392727"/>
                <a:gd name="connsiteX10" fmla="*/ 13133 w 134995"/>
                <a:gd name="connsiteY10" fmla="*/ 197081 h 392727"/>
                <a:gd name="connsiteX11" fmla="*/ 6735 w 134995"/>
                <a:gd name="connsiteY11" fmla="*/ 106161 h 392727"/>
                <a:gd name="connsiteX12" fmla="*/ 0 w 134995"/>
                <a:gd name="connsiteY12" fmla="*/ 91007 h 392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995" h="392727">
                  <a:moveTo>
                    <a:pt x="0" y="91007"/>
                  </a:moveTo>
                  <a:cubicBezTo>
                    <a:pt x="20204" y="62385"/>
                    <a:pt x="40409" y="33762"/>
                    <a:pt x="60613" y="4802"/>
                  </a:cubicBezTo>
                  <a:cubicBezTo>
                    <a:pt x="65328" y="-1933"/>
                    <a:pt x="68358" y="-1259"/>
                    <a:pt x="72736" y="4802"/>
                  </a:cubicBezTo>
                  <a:cubicBezTo>
                    <a:pt x="92940" y="33425"/>
                    <a:pt x="113481" y="62048"/>
                    <a:pt x="133686" y="90671"/>
                  </a:cubicBezTo>
                  <a:cubicBezTo>
                    <a:pt x="136380" y="103467"/>
                    <a:pt x="129645" y="113569"/>
                    <a:pt x="122910" y="123335"/>
                  </a:cubicBezTo>
                  <a:cubicBezTo>
                    <a:pt x="112808" y="138151"/>
                    <a:pt x="110451" y="153641"/>
                    <a:pt x="115165" y="171152"/>
                  </a:cubicBezTo>
                  <a:cubicBezTo>
                    <a:pt x="120890" y="193377"/>
                    <a:pt x="126278" y="215602"/>
                    <a:pt x="132002" y="237827"/>
                  </a:cubicBezTo>
                  <a:cubicBezTo>
                    <a:pt x="134696" y="248265"/>
                    <a:pt x="136043" y="258704"/>
                    <a:pt x="134023" y="269143"/>
                  </a:cubicBezTo>
                  <a:cubicBezTo>
                    <a:pt x="116512" y="310226"/>
                    <a:pt x="94961" y="349288"/>
                    <a:pt x="73409" y="392727"/>
                  </a:cubicBezTo>
                  <a:cubicBezTo>
                    <a:pt x="54552" y="358043"/>
                    <a:pt x="40072" y="325379"/>
                    <a:pt x="20204" y="296083"/>
                  </a:cubicBezTo>
                  <a:cubicBezTo>
                    <a:pt x="-2357" y="263082"/>
                    <a:pt x="-5725" y="231765"/>
                    <a:pt x="13133" y="197081"/>
                  </a:cubicBezTo>
                  <a:cubicBezTo>
                    <a:pt x="30307" y="165764"/>
                    <a:pt x="31317" y="135121"/>
                    <a:pt x="6735" y="106161"/>
                  </a:cubicBezTo>
                  <a:cubicBezTo>
                    <a:pt x="3367" y="102120"/>
                    <a:pt x="2357" y="96059"/>
                    <a:pt x="0" y="91007"/>
                  </a:cubicBezTo>
                  <a:close/>
                </a:path>
              </a:pathLst>
            </a:custGeom>
            <a:solidFill>
              <a:schemeClr val="accent3"/>
            </a:solidFill>
            <a:ln w="3363" cap="flat">
              <a:noFill/>
              <a:prstDash val="solid"/>
              <a:miter/>
            </a:ln>
          </p:spPr>
          <p:txBody>
            <a:bodyPr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D0F832D-5065-CC9F-FF5C-7EDD3EAEE034}"/>
                </a:ext>
              </a:extLst>
            </p:cNvPr>
            <p:cNvSpPr/>
            <p:nvPr/>
          </p:nvSpPr>
          <p:spPr>
            <a:xfrm>
              <a:off x="6737982" y="5135106"/>
              <a:ext cx="257282" cy="312723"/>
            </a:xfrm>
            <a:custGeom>
              <a:avLst/>
              <a:gdLst>
                <a:gd name="connsiteX0" fmla="*/ 256933 w 256933"/>
                <a:gd name="connsiteY0" fmla="*/ 280300 h 312963"/>
                <a:gd name="connsiteX1" fmla="*/ 235045 w 256933"/>
                <a:gd name="connsiteY1" fmla="*/ 272218 h 312963"/>
                <a:gd name="connsiteX2" fmla="*/ 203728 w 256933"/>
                <a:gd name="connsiteY2" fmla="*/ 290065 h 312963"/>
                <a:gd name="connsiteX3" fmla="*/ 199687 w 256933"/>
                <a:gd name="connsiteY3" fmla="*/ 310270 h 312963"/>
                <a:gd name="connsiteX4" fmla="*/ 177126 w 256933"/>
                <a:gd name="connsiteY4" fmla="*/ 266830 h 312963"/>
                <a:gd name="connsiteX5" fmla="*/ 153890 w 256933"/>
                <a:gd name="connsiteY5" fmla="*/ 216656 h 312963"/>
                <a:gd name="connsiteX6" fmla="*/ 125604 w 256933"/>
                <a:gd name="connsiteY6" fmla="*/ 198472 h 312963"/>
                <a:gd name="connsiteX7" fmla="*/ 104726 w 256933"/>
                <a:gd name="connsiteY7" fmla="*/ 212278 h 312963"/>
                <a:gd name="connsiteX8" fmla="*/ 57583 w 256933"/>
                <a:gd name="connsiteY8" fmla="*/ 312964 h 312963"/>
                <a:gd name="connsiteX9" fmla="*/ 49838 w 256933"/>
                <a:gd name="connsiteY9" fmla="*/ 275922 h 312963"/>
                <a:gd name="connsiteX10" fmla="*/ 33001 w 256933"/>
                <a:gd name="connsiteY10" fmla="*/ 267504 h 312963"/>
                <a:gd name="connsiteX11" fmla="*/ 0 w 256933"/>
                <a:gd name="connsiteY11" fmla="*/ 280973 h 312963"/>
                <a:gd name="connsiteX12" fmla="*/ 26603 w 256933"/>
                <a:gd name="connsiteY12" fmla="*/ 223391 h 312963"/>
                <a:gd name="connsiteX13" fmla="*/ 48491 w 256933"/>
                <a:gd name="connsiteY13" fmla="*/ 177931 h 312963"/>
                <a:gd name="connsiteX14" fmla="*/ 46807 w 256933"/>
                <a:gd name="connsiteY14" fmla="*/ 156716 h 312963"/>
                <a:gd name="connsiteX15" fmla="*/ 47144 w 256933"/>
                <a:gd name="connsiteY15" fmla="*/ 41887 h 312963"/>
                <a:gd name="connsiteX16" fmla="*/ 155574 w 256933"/>
                <a:gd name="connsiteY16" fmla="*/ 3499 h 312963"/>
                <a:gd name="connsiteX17" fmla="*/ 212147 w 256933"/>
                <a:gd name="connsiteY17" fmla="*/ 153349 h 312963"/>
                <a:gd name="connsiteX18" fmla="*/ 210126 w 256933"/>
                <a:gd name="connsiteY18" fmla="*/ 181972 h 312963"/>
                <a:gd name="connsiteX19" fmla="*/ 256933 w 256933"/>
                <a:gd name="connsiteY19" fmla="*/ 280300 h 312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6933" h="312963">
                  <a:moveTo>
                    <a:pt x="256933" y="280300"/>
                  </a:moveTo>
                  <a:cubicBezTo>
                    <a:pt x="247168" y="276933"/>
                    <a:pt x="241106" y="274575"/>
                    <a:pt x="235045" y="272218"/>
                  </a:cubicBezTo>
                  <a:cubicBezTo>
                    <a:pt x="208443" y="262116"/>
                    <a:pt x="208443" y="262116"/>
                    <a:pt x="203728" y="290065"/>
                  </a:cubicBezTo>
                  <a:cubicBezTo>
                    <a:pt x="202718" y="296127"/>
                    <a:pt x="201371" y="302188"/>
                    <a:pt x="199687" y="310270"/>
                  </a:cubicBezTo>
                  <a:cubicBezTo>
                    <a:pt x="188575" y="296463"/>
                    <a:pt x="184197" y="280973"/>
                    <a:pt x="177126" y="266830"/>
                  </a:cubicBezTo>
                  <a:cubicBezTo>
                    <a:pt x="168707" y="250330"/>
                    <a:pt x="160289" y="233830"/>
                    <a:pt x="153890" y="216656"/>
                  </a:cubicBezTo>
                  <a:cubicBezTo>
                    <a:pt x="148503" y="202176"/>
                    <a:pt x="141094" y="197462"/>
                    <a:pt x="125604" y="198472"/>
                  </a:cubicBezTo>
                  <a:cubicBezTo>
                    <a:pt x="114155" y="199145"/>
                    <a:pt x="109104" y="202513"/>
                    <a:pt x="104726" y="212278"/>
                  </a:cubicBezTo>
                  <a:cubicBezTo>
                    <a:pt x="89910" y="244605"/>
                    <a:pt x="74420" y="276596"/>
                    <a:pt x="57583" y="312964"/>
                  </a:cubicBezTo>
                  <a:cubicBezTo>
                    <a:pt x="54215" y="297810"/>
                    <a:pt x="50511" y="287035"/>
                    <a:pt x="49838" y="275922"/>
                  </a:cubicBezTo>
                  <a:cubicBezTo>
                    <a:pt x="48827" y="261779"/>
                    <a:pt x="42766" y="262789"/>
                    <a:pt x="33001" y="267504"/>
                  </a:cubicBezTo>
                  <a:cubicBezTo>
                    <a:pt x="23572" y="271881"/>
                    <a:pt x="13470" y="275586"/>
                    <a:pt x="0" y="280973"/>
                  </a:cubicBezTo>
                  <a:cubicBezTo>
                    <a:pt x="9765" y="260096"/>
                    <a:pt x="17847" y="241575"/>
                    <a:pt x="26603" y="223391"/>
                  </a:cubicBezTo>
                  <a:cubicBezTo>
                    <a:pt x="33674" y="208237"/>
                    <a:pt x="40746" y="193084"/>
                    <a:pt x="48491" y="177931"/>
                  </a:cubicBezTo>
                  <a:cubicBezTo>
                    <a:pt x="52531" y="170186"/>
                    <a:pt x="51858" y="164461"/>
                    <a:pt x="46807" y="156716"/>
                  </a:cubicBezTo>
                  <a:cubicBezTo>
                    <a:pt x="22225" y="119675"/>
                    <a:pt x="22898" y="76235"/>
                    <a:pt x="47144" y="41887"/>
                  </a:cubicBezTo>
                  <a:cubicBezTo>
                    <a:pt x="71726" y="7203"/>
                    <a:pt x="112808" y="-7277"/>
                    <a:pt x="155574" y="3499"/>
                  </a:cubicBezTo>
                  <a:cubicBezTo>
                    <a:pt x="219218" y="19326"/>
                    <a:pt x="248515" y="96439"/>
                    <a:pt x="212147" y="153349"/>
                  </a:cubicBezTo>
                  <a:cubicBezTo>
                    <a:pt x="205749" y="163451"/>
                    <a:pt x="204738" y="170859"/>
                    <a:pt x="210126" y="181972"/>
                  </a:cubicBezTo>
                  <a:cubicBezTo>
                    <a:pt x="225953" y="213288"/>
                    <a:pt x="240433" y="245279"/>
                    <a:pt x="256933" y="280300"/>
                  </a:cubicBezTo>
                  <a:close/>
                </a:path>
              </a:pathLst>
            </a:custGeom>
            <a:solidFill>
              <a:schemeClr val="accent3"/>
            </a:solidFill>
            <a:ln w="3363" cap="flat">
              <a:noFill/>
              <a:prstDash val="solid"/>
              <a:miter/>
            </a:ln>
          </p:spPr>
          <p:txBody>
            <a:bodyPr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40998" name="Freeform: Shape 20">
              <a:extLst>
                <a:ext uri="{FF2B5EF4-FFF2-40B4-BE49-F238E27FC236}">
                  <a16:creationId xmlns:a16="http://schemas.microsoft.com/office/drawing/2014/main" id="{99A99E42-F40E-0F81-B015-95497808A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6078" y="4777792"/>
              <a:ext cx="1302230" cy="33674"/>
            </a:xfrm>
            <a:custGeom>
              <a:avLst/>
              <a:gdLst>
                <a:gd name="T0" fmla="*/ 649273 w 1302230"/>
                <a:gd name="T1" fmla="*/ 33674 h 33674"/>
                <a:gd name="T2" fmla="*/ 19904 w 1302230"/>
                <a:gd name="T3" fmla="*/ 33674 h 33674"/>
                <a:gd name="T4" fmla="*/ 36 w 1302230"/>
                <a:gd name="T5" fmla="*/ 17174 h 33674"/>
                <a:gd name="T6" fmla="*/ 17547 w 1302230"/>
                <a:gd name="T7" fmla="*/ 0 h 33674"/>
                <a:gd name="T8" fmla="*/ 325665 w 1302230"/>
                <a:gd name="T9" fmla="*/ 337 h 33674"/>
                <a:gd name="T10" fmla="*/ 1281672 w 1302230"/>
                <a:gd name="T11" fmla="*/ 337 h 33674"/>
                <a:gd name="T12" fmla="*/ 1302213 w 1302230"/>
                <a:gd name="T13" fmla="*/ 13806 h 33674"/>
                <a:gd name="T14" fmla="*/ 1282345 w 1302230"/>
                <a:gd name="T15" fmla="*/ 33674 h 33674"/>
                <a:gd name="T16" fmla="*/ 649273 w 1302230"/>
                <a:gd name="T17" fmla="*/ 33674 h 3367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02230" h="33674">
                  <a:moveTo>
                    <a:pt x="649273" y="33674"/>
                  </a:moveTo>
                  <a:cubicBezTo>
                    <a:pt x="439483" y="33674"/>
                    <a:pt x="229694" y="33674"/>
                    <a:pt x="19904" y="33674"/>
                  </a:cubicBezTo>
                  <a:cubicBezTo>
                    <a:pt x="8118" y="33674"/>
                    <a:pt x="-637" y="33674"/>
                    <a:pt x="36" y="17174"/>
                  </a:cubicBezTo>
                  <a:cubicBezTo>
                    <a:pt x="710" y="4378"/>
                    <a:pt x="3741" y="0"/>
                    <a:pt x="17547" y="0"/>
                  </a:cubicBezTo>
                  <a:cubicBezTo>
                    <a:pt x="120253" y="674"/>
                    <a:pt x="222959" y="337"/>
                    <a:pt x="325665" y="337"/>
                  </a:cubicBezTo>
                  <a:cubicBezTo>
                    <a:pt x="644222" y="337"/>
                    <a:pt x="962778" y="337"/>
                    <a:pt x="1281672" y="337"/>
                  </a:cubicBezTo>
                  <a:cubicBezTo>
                    <a:pt x="1291101" y="337"/>
                    <a:pt x="1301876" y="-3031"/>
                    <a:pt x="1302213" y="13806"/>
                  </a:cubicBezTo>
                  <a:cubicBezTo>
                    <a:pt x="1302550" y="29296"/>
                    <a:pt x="1298172" y="33674"/>
                    <a:pt x="1282345" y="33674"/>
                  </a:cubicBezTo>
                  <a:cubicBezTo>
                    <a:pt x="1071209" y="33674"/>
                    <a:pt x="860409" y="33674"/>
                    <a:pt x="649273" y="33674"/>
                  </a:cubicBezTo>
                  <a:close/>
                </a:path>
              </a:pathLst>
            </a:custGeom>
            <a:solidFill>
              <a:srgbClr val="BCBD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0999" name="Freeform: Shape 21">
              <a:extLst>
                <a:ext uri="{FF2B5EF4-FFF2-40B4-BE49-F238E27FC236}">
                  <a16:creationId xmlns:a16="http://schemas.microsoft.com/office/drawing/2014/main" id="{AF2CB8F3-4515-7E7F-F034-05383AD03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6321" y="4846151"/>
              <a:ext cx="1301979" cy="33674"/>
            </a:xfrm>
            <a:custGeom>
              <a:avLst/>
              <a:gdLst>
                <a:gd name="T0" fmla="*/ 649030 w 1301979"/>
                <a:gd name="T1" fmla="*/ 33337 h 33674"/>
                <a:gd name="T2" fmla="*/ 19661 w 1301979"/>
                <a:gd name="T3" fmla="*/ 33674 h 33674"/>
                <a:gd name="T4" fmla="*/ 130 w 1301979"/>
                <a:gd name="T5" fmla="*/ 13806 h 33674"/>
                <a:gd name="T6" fmla="*/ 14273 w 1301979"/>
                <a:gd name="T7" fmla="*/ 337 h 33674"/>
                <a:gd name="T8" fmla="*/ 19324 w 1301979"/>
                <a:gd name="T9" fmla="*/ 337 h 33674"/>
                <a:gd name="T10" fmla="*/ 1283113 w 1301979"/>
                <a:gd name="T11" fmla="*/ 0 h 33674"/>
                <a:gd name="T12" fmla="*/ 1301970 w 1301979"/>
                <a:gd name="T13" fmla="*/ 17511 h 33674"/>
                <a:gd name="T14" fmla="*/ 1281766 w 1301979"/>
                <a:gd name="T15" fmla="*/ 33674 h 33674"/>
                <a:gd name="T16" fmla="*/ 649030 w 1301979"/>
                <a:gd name="T17" fmla="*/ 33337 h 3367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01979" h="33674">
                  <a:moveTo>
                    <a:pt x="649030" y="33337"/>
                  </a:moveTo>
                  <a:cubicBezTo>
                    <a:pt x="439240" y="33337"/>
                    <a:pt x="229451" y="33001"/>
                    <a:pt x="19661" y="33674"/>
                  </a:cubicBezTo>
                  <a:cubicBezTo>
                    <a:pt x="3834" y="33674"/>
                    <a:pt x="-880" y="28623"/>
                    <a:pt x="130" y="13806"/>
                  </a:cubicBezTo>
                  <a:cubicBezTo>
                    <a:pt x="804" y="3704"/>
                    <a:pt x="4171" y="-674"/>
                    <a:pt x="14273" y="337"/>
                  </a:cubicBezTo>
                  <a:cubicBezTo>
                    <a:pt x="15957" y="337"/>
                    <a:pt x="17641" y="337"/>
                    <a:pt x="19324" y="337"/>
                  </a:cubicBezTo>
                  <a:cubicBezTo>
                    <a:pt x="440587" y="337"/>
                    <a:pt x="861850" y="337"/>
                    <a:pt x="1283113" y="0"/>
                  </a:cubicBezTo>
                  <a:cubicBezTo>
                    <a:pt x="1296246" y="0"/>
                    <a:pt x="1301633" y="2694"/>
                    <a:pt x="1301970" y="17511"/>
                  </a:cubicBezTo>
                  <a:cubicBezTo>
                    <a:pt x="1302307" y="34011"/>
                    <a:pt x="1293552" y="33674"/>
                    <a:pt x="1281766" y="33674"/>
                  </a:cubicBezTo>
                  <a:cubicBezTo>
                    <a:pt x="1070966" y="33337"/>
                    <a:pt x="859830" y="33337"/>
                    <a:pt x="649030" y="33337"/>
                  </a:cubicBezTo>
                  <a:close/>
                </a:path>
              </a:pathLst>
            </a:custGeom>
            <a:solidFill>
              <a:srgbClr val="BBB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1000" name="Freeform: Shape 22">
              <a:extLst>
                <a:ext uri="{FF2B5EF4-FFF2-40B4-BE49-F238E27FC236}">
                  <a16:creationId xmlns:a16="http://schemas.microsoft.com/office/drawing/2014/main" id="{CA0C5A29-044C-FB61-F922-5D581A7C9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6095" y="4986908"/>
              <a:ext cx="1301522" cy="31490"/>
            </a:xfrm>
            <a:custGeom>
              <a:avLst/>
              <a:gdLst>
                <a:gd name="T0" fmla="*/ 649255 w 1301522"/>
                <a:gd name="T1" fmla="*/ 31317 h 31490"/>
                <a:gd name="T2" fmla="*/ 19550 w 1301522"/>
                <a:gd name="T3" fmla="*/ 31317 h 31490"/>
                <a:gd name="T4" fmla="*/ 19 w 1301522"/>
                <a:gd name="T5" fmla="*/ 18184 h 31490"/>
                <a:gd name="T6" fmla="*/ 17866 w 1301522"/>
                <a:gd name="T7" fmla="*/ 0 h 31490"/>
                <a:gd name="T8" fmla="*/ 1283675 w 1301522"/>
                <a:gd name="T9" fmla="*/ 0 h 31490"/>
                <a:gd name="T10" fmla="*/ 1301522 w 1301522"/>
                <a:gd name="T11" fmla="*/ 14817 h 31490"/>
                <a:gd name="T12" fmla="*/ 1283675 w 1301522"/>
                <a:gd name="T13" fmla="*/ 31317 h 31490"/>
                <a:gd name="T14" fmla="*/ 649255 w 1301522"/>
                <a:gd name="T15" fmla="*/ 31317 h 314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01522" h="31490">
                  <a:moveTo>
                    <a:pt x="649255" y="31317"/>
                  </a:moveTo>
                  <a:cubicBezTo>
                    <a:pt x="439466" y="31317"/>
                    <a:pt x="229676" y="31317"/>
                    <a:pt x="19550" y="31317"/>
                  </a:cubicBezTo>
                  <a:cubicBezTo>
                    <a:pt x="10458" y="31317"/>
                    <a:pt x="356" y="34011"/>
                    <a:pt x="19" y="18184"/>
                  </a:cubicBezTo>
                  <a:cubicBezTo>
                    <a:pt x="-318" y="4378"/>
                    <a:pt x="3723" y="0"/>
                    <a:pt x="17866" y="0"/>
                  </a:cubicBezTo>
                  <a:cubicBezTo>
                    <a:pt x="439803" y="337"/>
                    <a:pt x="861739" y="337"/>
                    <a:pt x="1283675" y="0"/>
                  </a:cubicBezTo>
                  <a:cubicBezTo>
                    <a:pt x="1294451" y="0"/>
                    <a:pt x="1301522" y="337"/>
                    <a:pt x="1301522" y="14817"/>
                  </a:cubicBezTo>
                  <a:cubicBezTo>
                    <a:pt x="1301522" y="28960"/>
                    <a:pt x="1295798" y="31317"/>
                    <a:pt x="1283675" y="31317"/>
                  </a:cubicBezTo>
                  <a:cubicBezTo>
                    <a:pt x="1072539" y="30980"/>
                    <a:pt x="860729" y="31317"/>
                    <a:pt x="649255" y="31317"/>
                  </a:cubicBezTo>
                  <a:close/>
                </a:path>
              </a:pathLst>
            </a:custGeom>
            <a:solidFill>
              <a:srgbClr val="BABC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1001" name="Freeform: Shape 23">
              <a:extLst>
                <a:ext uri="{FF2B5EF4-FFF2-40B4-BE49-F238E27FC236}">
                  <a16:creationId xmlns:a16="http://schemas.microsoft.com/office/drawing/2014/main" id="{F54FB8F8-2710-D91F-51BA-10751610D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6097" y="5057624"/>
              <a:ext cx="1301842" cy="31058"/>
            </a:xfrm>
            <a:custGeom>
              <a:avLst/>
              <a:gdLst>
                <a:gd name="T0" fmla="*/ 649254 w 1301842"/>
                <a:gd name="T1" fmla="*/ 30644 h 31058"/>
                <a:gd name="T2" fmla="*/ 19549 w 1301842"/>
                <a:gd name="T3" fmla="*/ 30644 h 31058"/>
                <a:gd name="T4" fmla="*/ 18 w 1301842"/>
                <a:gd name="T5" fmla="*/ 17847 h 31058"/>
                <a:gd name="T6" fmla="*/ 18202 w 1301842"/>
                <a:gd name="T7" fmla="*/ 0 h 31058"/>
                <a:gd name="T8" fmla="*/ 1282327 w 1301842"/>
                <a:gd name="T9" fmla="*/ 0 h 31058"/>
                <a:gd name="T10" fmla="*/ 1301521 w 1301842"/>
                <a:gd name="T11" fmla="*/ 20204 h 31058"/>
                <a:gd name="T12" fmla="*/ 1290409 w 1301842"/>
                <a:gd name="T13" fmla="*/ 30980 h 31058"/>
                <a:gd name="T14" fmla="*/ 1275255 w 1301842"/>
                <a:gd name="T15" fmla="*/ 30980 h 31058"/>
                <a:gd name="T16" fmla="*/ 649254 w 1301842"/>
                <a:gd name="T17" fmla="*/ 30644 h 310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01842" h="31058">
                  <a:moveTo>
                    <a:pt x="649254" y="30644"/>
                  </a:moveTo>
                  <a:cubicBezTo>
                    <a:pt x="439465" y="30644"/>
                    <a:pt x="229675" y="30644"/>
                    <a:pt x="19549" y="30644"/>
                  </a:cubicBezTo>
                  <a:cubicBezTo>
                    <a:pt x="10457" y="30644"/>
                    <a:pt x="355" y="33674"/>
                    <a:pt x="18" y="17847"/>
                  </a:cubicBezTo>
                  <a:cubicBezTo>
                    <a:pt x="-319" y="4041"/>
                    <a:pt x="4059" y="0"/>
                    <a:pt x="18202" y="0"/>
                  </a:cubicBezTo>
                  <a:cubicBezTo>
                    <a:pt x="439465" y="337"/>
                    <a:pt x="861064" y="337"/>
                    <a:pt x="1282327" y="0"/>
                  </a:cubicBezTo>
                  <a:cubicBezTo>
                    <a:pt x="1298490" y="0"/>
                    <a:pt x="1303205" y="5051"/>
                    <a:pt x="1301521" y="20204"/>
                  </a:cubicBezTo>
                  <a:cubicBezTo>
                    <a:pt x="1300848" y="27950"/>
                    <a:pt x="1298490" y="31654"/>
                    <a:pt x="1290409" y="30980"/>
                  </a:cubicBezTo>
                  <a:cubicBezTo>
                    <a:pt x="1285358" y="30644"/>
                    <a:pt x="1280306" y="30980"/>
                    <a:pt x="1275255" y="30980"/>
                  </a:cubicBezTo>
                  <a:cubicBezTo>
                    <a:pt x="1066813" y="30644"/>
                    <a:pt x="858033" y="30644"/>
                    <a:pt x="649254" y="30644"/>
                  </a:cubicBez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1002" name="Freeform: Shape 24">
              <a:extLst>
                <a:ext uri="{FF2B5EF4-FFF2-40B4-BE49-F238E27FC236}">
                  <a16:creationId xmlns:a16="http://schemas.microsoft.com/office/drawing/2014/main" id="{A7B5A5EE-7B79-7C2A-F057-0E1850F15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6143" y="4919172"/>
              <a:ext cx="1301948" cy="32042"/>
            </a:xfrm>
            <a:custGeom>
              <a:avLst/>
              <a:gdLst>
                <a:gd name="T0" fmla="*/ 649208 w 1301948"/>
                <a:gd name="T1" fmla="*/ 31369 h 32042"/>
                <a:gd name="T2" fmla="*/ 19502 w 1301948"/>
                <a:gd name="T3" fmla="*/ 31706 h 32042"/>
                <a:gd name="T4" fmla="*/ 308 w 1301948"/>
                <a:gd name="T5" fmla="*/ 11838 h 32042"/>
                <a:gd name="T6" fmla="*/ 11084 w 1301948"/>
                <a:gd name="T7" fmla="*/ 725 h 32042"/>
                <a:gd name="T8" fmla="*/ 31288 w 1301948"/>
                <a:gd name="T9" fmla="*/ 725 h 32042"/>
                <a:gd name="T10" fmla="*/ 1280597 w 1301948"/>
                <a:gd name="T11" fmla="*/ 1062 h 32042"/>
                <a:gd name="T12" fmla="*/ 1301811 w 1301948"/>
                <a:gd name="T13" fmla="*/ 11838 h 32042"/>
                <a:gd name="T14" fmla="*/ 1282617 w 1301948"/>
                <a:gd name="T15" fmla="*/ 32042 h 32042"/>
                <a:gd name="T16" fmla="*/ 649208 w 1301948"/>
                <a:gd name="T17" fmla="*/ 31369 h 320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01948" h="32042">
                  <a:moveTo>
                    <a:pt x="649208" y="31369"/>
                  </a:moveTo>
                  <a:cubicBezTo>
                    <a:pt x="439418" y="31369"/>
                    <a:pt x="229292" y="31032"/>
                    <a:pt x="19502" y="31706"/>
                  </a:cubicBezTo>
                  <a:cubicBezTo>
                    <a:pt x="3676" y="31706"/>
                    <a:pt x="-1375" y="26991"/>
                    <a:pt x="308" y="11838"/>
                  </a:cubicBezTo>
                  <a:cubicBezTo>
                    <a:pt x="982" y="4430"/>
                    <a:pt x="3002" y="389"/>
                    <a:pt x="11084" y="725"/>
                  </a:cubicBezTo>
                  <a:cubicBezTo>
                    <a:pt x="17819" y="1062"/>
                    <a:pt x="24554" y="725"/>
                    <a:pt x="31288" y="725"/>
                  </a:cubicBezTo>
                  <a:cubicBezTo>
                    <a:pt x="447837" y="725"/>
                    <a:pt x="864048" y="725"/>
                    <a:pt x="1280597" y="1062"/>
                  </a:cubicBezTo>
                  <a:cubicBezTo>
                    <a:pt x="1288342" y="1062"/>
                    <a:pt x="1300465" y="-4999"/>
                    <a:pt x="1301811" y="11838"/>
                  </a:cubicBezTo>
                  <a:cubicBezTo>
                    <a:pt x="1302822" y="26991"/>
                    <a:pt x="1298444" y="32042"/>
                    <a:pt x="1282617" y="32042"/>
                  </a:cubicBezTo>
                  <a:cubicBezTo>
                    <a:pt x="1071481" y="31032"/>
                    <a:pt x="860344" y="31369"/>
                    <a:pt x="649208" y="31369"/>
                  </a:cubicBez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1003" name="Freeform: Shape 25">
              <a:extLst>
                <a:ext uri="{FF2B5EF4-FFF2-40B4-BE49-F238E27FC236}">
                  <a16:creationId xmlns:a16="http://schemas.microsoft.com/office/drawing/2014/main" id="{B2BBB6E5-7C9B-ECA4-0A38-76ED30CCE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6451" y="2628189"/>
              <a:ext cx="638929" cy="515756"/>
            </a:xfrm>
            <a:custGeom>
              <a:avLst/>
              <a:gdLst>
                <a:gd name="T0" fmla="*/ 522958 w 638929"/>
                <a:gd name="T1" fmla="*/ 152730 h 515756"/>
                <a:gd name="T2" fmla="*/ 496019 w 638929"/>
                <a:gd name="T3" fmla="*/ 140271 h 515756"/>
                <a:gd name="T4" fmla="*/ 113818 w 638929"/>
                <a:gd name="T5" fmla="*/ 59790 h 515756"/>
                <a:gd name="T6" fmla="*/ 35021 w 638929"/>
                <a:gd name="T7" fmla="*/ 45983 h 515756"/>
                <a:gd name="T8" fmla="*/ 0 w 638929"/>
                <a:gd name="T9" fmla="*/ 20391 h 515756"/>
                <a:gd name="T10" fmla="*/ 40409 w 638929"/>
                <a:gd name="T11" fmla="*/ 523 h 515756"/>
                <a:gd name="T12" fmla="*/ 102369 w 638929"/>
                <a:gd name="T13" fmla="*/ 12309 h 515756"/>
                <a:gd name="T14" fmla="*/ 259627 w 638929"/>
                <a:gd name="T15" fmla="*/ 45310 h 515756"/>
                <a:gd name="T16" fmla="*/ 493999 w 638929"/>
                <a:gd name="T17" fmla="*/ 95821 h 515756"/>
                <a:gd name="T18" fmla="*/ 576500 w 638929"/>
                <a:gd name="T19" fmla="*/ 154414 h 515756"/>
                <a:gd name="T20" fmla="*/ 583909 w 638929"/>
                <a:gd name="T21" fmla="*/ 237252 h 515756"/>
                <a:gd name="T22" fmla="*/ 590307 w 638929"/>
                <a:gd name="T23" fmla="*/ 247354 h 515756"/>
                <a:gd name="T24" fmla="*/ 637450 w 638929"/>
                <a:gd name="T25" fmla="*/ 323794 h 515756"/>
                <a:gd name="T26" fmla="*/ 581215 w 638929"/>
                <a:gd name="T27" fmla="*/ 507992 h 515756"/>
                <a:gd name="T28" fmla="*/ 558990 w 638929"/>
                <a:gd name="T29" fmla="*/ 509339 h 515756"/>
                <a:gd name="T30" fmla="*/ 501070 w 638929"/>
                <a:gd name="T31" fmla="*/ 397204 h 515756"/>
                <a:gd name="T32" fmla="*/ 497030 w 638929"/>
                <a:gd name="T33" fmla="*/ 312345 h 515756"/>
                <a:gd name="T34" fmla="*/ 523969 w 638929"/>
                <a:gd name="T35" fmla="*/ 249711 h 515756"/>
                <a:gd name="T36" fmla="*/ 529693 w 638929"/>
                <a:gd name="T37" fmla="*/ 247017 h 515756"/>
                <a:gd name="T38" fmla="*/ 547541 w 638929"/>
                <a:gd name="T39" fmla="*/ 188425 h 515756"/>
                <a:gd name="T40" fmla="*/ 522958 w 638929"/>
                <a:gd name="T41" fmla="*/ 152730 h 51575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38929" h="515756">
                  <a:moveTo>
                    <a:pt x="522958" y="152730"/>
                  </a:moveTo>
                  <a:cubicBezTo>
                    <a:pt x="515550" y="145322"/>
                    <a:pt x="505785" y="142291"/>
                    <a:pt x="496019" y="140271"/>
                  </a:cubicBezTo>
                  <a:cubicBezTo>
                    <a:pt x="368731" y="113331"/>
                    <a:pt x="241443" y="84372"/>
                    <a:pt x="113818" y="59790"/>
                  </a:cubicBezTo>
                  <a:cubicBezTo>
                    <a:pt x="69705" y="51371"/>
                    <a:pt x="63981" y="52044"/>
                    <a:pt x="35021" y="45983"/>
                  </a:cubicBezTo>
                  <a:cubicBezTo>
                    <a:pt x="20541" y="42952"/>
                    <a:pt x="0" y="37901"/>
                    <a:pt x="0" y="20391"/>
                  </a:cubicBezTo>
                  <a:cubicBezTo>
                    <a:pt x="0" y="186"/>
                    <a:pt x="25929" y="-1161"/>
                    <a:pt x="40409" y="523"/>
                  </a:cubicBezTo>
                  <a:cubicBezTo>
                    <a:pt x="76104" y="4564"/>
                    <a:pt x="69705" y="7595"/>
                    <a:pt x="102369" y="12309"/>
                  </a:cubicBezTo>
                  <a:cubicBezTo>
                    <a:pt x="154901" y="23422"/>
                    <a:pt x="207096" y="34197"/>
                    <a:pt x="259627" y="45310"/>
                  </a:cubicBezTo>
                  <a:cubicBezTo>
                    <a:pt x="337751" y="62147"/>
                    <a:pt x="415875" y="78984"/>
                    <a:pt x="493999" y="95821"/>
                  </a:cubicBezTo>
                  <a:cubicBezTo>
                    <a:pt x="530030" y="103566"/>
                    <a:pt x="558653" y="121413"/>
                    <a:pt x="576500" y="154414"/>
                  </a:cubicBezTo>
                  <a:cubicBezTo>
                    <a:pt x="581215" y="173945"/>
                    <a:pt x="586266" y="208966"/>
                    <a:pt x="583909" y="237252"/>
                  </a:cubicBezTo>
                  <a:cubicBezTo>
                    <a:pt x="583572" y="241630"/>
                    <a:pt x="585256" y="244660"/>
                    <a:pt x="590307" y="247354"/>
                  </a:cubicBezTo>
                  <a:cubicBezTo>
                    <a:pt x="621287" y="263181"/>
                    <a:pt x="633746" y="291467"/>
                    <a:pt x="637450" y="323794"/>
                  </a:cubicBezTo>
                  <a:cubicBezTo>
                    <a:pt x="645196" y="393163"/>
                    <a:pt x="621960" y="453440"/>
                    <a:pt x="581215" y="507992"/>
                  </a:cubicBezTo>
                  <a:cubicBezTo>
                    <a:pt x="573806" y="517757"/>
                    <a:pt x="567745" y="518431"/>
                    <a:pt x="558990" y="509339"/>
                  </a:cubicBezTo>
                  <a:cubicBezTo>
                    <a:pt x="528346" y="477685"/>
                    <a:pt x="509826" y="440980"/>
                    <a:pt x="501070" y="397204"/>
                  </a:cubicBezTo>
                  <a:cubicBezTo>
                    <a:pt x="495346" y="368581"/>
                    <a:pt x="495009" y="340631"/>
                    <a:pt x="497030" y="312345"/>
                  </a:cubicBezTo>
                  <a:cubicBezTo>
                    <a:pt x="498713" y="289447"/>
                    <a:pt x="503764" y="265538"/>
                    <a:pt x="523969" y="249711"/>
                  </a:cubicBezTo>
                  <a:cubicBezTo>
                    <a:pt x="525653" y="248364"/>
                    <a:pt x="528010" y="247691"/>
                    <a:pt x="529693" y="247017"/>
                  </a:cubicBezTo>
                  <a:cubicBezTo>
                    <a:pt x="547877" y="235568"/>
                    <a:pt x="550235" y="216037"/>
                    <a:pt x="547541" y="188425"/>
                  </a:cubicBezTo>
                  <a:cubicBezTo>
                    <a:pt x="546194" y="182026"/>
                    <a:pt x="542490" y="170241"/>
                    <a:pt x="522958" y="1527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  <p:sp>
          <p:nvSpPr>
            <p:cNvPr id="41004" name="Freeform: Shape 26">
              <a:extLst>
                <a:ext uri="{FF2B5EF4-FFF2-40B4-BE49-F238E27FC236}">
                  <a16:creationId xmlns:a16="http://schemas.microsoft.com/office/drawing/2014/main" id="{90692E6E-5EB5-B583-0884-B15029F8F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4467" y="4971336"/>
              <a:ext cx="735707" cy="470971"/>
            </a:xfrm>
            <a:custGeom>
              <a:avLst/>
              <a:gdLst>
                <a:gd name="T0" fmla="*/ 75430 w 735707"/>
                <a:gd name="T1" fmla="*/ 194045 h 470971"/>
                <a:gd name="T2" fmla="*/ 0 w 735707"/>
                <a:gd name="T3" fmla="*/ 152289 h 470971"/>
                <a:gd name="T4" fmla="*/ 86879 w 735707"/>
                <a:gd name="T5" fmla="*/ 109860 h 470971"/>
                <a:gd name="T6" fmla="*/ 484570 w 735707"/>
                <a:gd name="T7" fmla="*/ 114574 h 470971"/>
                <a:gd name="T8" fmla="*/ 424967 w 735707"/>
                <a:gd name="T9" fmla="*/ 86288 h 470971"/>
                <a:gd name="T10" fmla="*/ 372772 w 735707"/>
                <a:gd name="T11" fmla="*/ 75512 h 470971"/>
                <a:gd name="T12" fmla="*/ 339435 w 735707"/>
                <a:gd name="T13" fmla="*/ 14899 h 470971"/>
                <a:gd name="T14" fmla="*/ 355935 w 735707"/>
                <a:gd name="T15" fmla="*/ 1092 h 470971"/>
                <a:gd name="T16" fmla="*/ 502080 w 735707"/>
                <a:gd name="T17" fmla="*/ 16582 h 470971"/>
                <a:gd name="T18" fmla="*/ 628695 w 735707"/>
                <a:gd name="T19" fmla="*/ 75175 h 470971"/>
                <a:gd name="T20" fmla="*/ 711197 w 735707"/>
                <a:gd name="T21" fmla="*/ 144207 h 470971"/>
                <a:gd name="T22" fmla="*/ 734432 w 735707"/>
                <a:gd name="T23" fmla="*/ 171146 h 470971"/>
                <a:gd name="T24" fmla="*/ 734432 w 735707"/>
                <a:gd name="T25" fmla="*/ 283281 h 470971"/>
                <a:gd name="T26" fmla="*/ 730054 w 735707"/>
                <a:gd name="T27" fmla="*/ 435825 h 470971"/>
                <a:gd name="T28" fmla="*/ 706819 w 735707"/>
                <a:gd name="T29" fmla="*/ 434141 h 470971"/>
                <a:gd name="T30" fmla="*/ 623644 w 735707"/>
                <a:gd name="T31" fmla="*/ 453672 h 470971"/>
                <a:gd name="T32" fmla="*/ 537102 w 735707"/>
                <a:gd name="T33" fmla="*/ 470509 h 470971"/>
                <a:gd name="T34" fmla="*/ 389272 w 735707"/>
                <a:gd name="T35" fmla="*/ 470846 h 470971"/>
                <a:gd name="T36" fmla="*/ 325965 w 735707"/>
                <a:gd name="T37" fmla="*/ 463101 h 470971"/>
                <a:gd name="T38" fmla="*/ 303403 w 735707"/>
                <a:gd name="T39" fmla="*/ 394742 h 470971"/>
                <a:gd name="T40" fmla="*/ 239760 w 735707"/>
                <a:gd name="T41" fmla="*/ 342211 h 470971"/>
                <a:gd name="T42" fmla="*/ 295658 w 735707"/>
                <a:gd name="T43" fmla="*/ 291363 h 470971"/>
                <a:gd name="T44" fmla="*/ 253566 w 735707"/>
                <a:gd name="T45" fmla="*/ 278903 h 470971"/>
                <a:gd name="T46" fmla="*/ 229657 w 735707"/>
                <a:gd name="T47" fmla="*/ 238831 h 470971"/>
                <a:gd name="T48" fmla="*/ 265015 w 735707"/>
                <a:gd name="T49" fmla="*/ 208188 h 470971"/>
                <a:gd name="T50" fmla="*/ 301383 w 735707"/>
                <a:gd name="T51" fmla="*/ 202127 h 470971"/>
                <a:gd name="T52" fmla="*/ 286903 w 735707"/>
                <a:gd name="T53" fmla="*/ 195055 h 470971"/>
                <a:gd name="T54" fmla="*/ 75430 w 735707"/>
                <a:gd name="T55" fmla="*/ 194045 h 47097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735707" h="470971">
                  <a:moveTo>
                    <a:pt x="75430" y="194045"/>
                  </a:moveTo>
                  <a:cubicBezTo>
                    <a:pt x="24582" y="193708"/>
                    <a:pt x="0" y="176198"/>
                    <a:pt x="0" y="152289"/>
                  </a:cubicBezTo>
                  <a:cubicBezTo>
                    <a:pt x="0" y="126360"/>
                    <a:pt x="21215" y="110196"/>
                    <a:pt x="86879" y="109860"/>
                  </a:cubicBezTo>
                  <a:cubicBezTo>
                    <a:pt x="108767" y="110196"/>
                    <a:pt x="371425" y="112890"/>
                    <a:pt x="484570" y="114574"/>
                  </a:cubicBezTo>
                  <a:cubicBezTo>
                    <a:pt x="466049" y="96390"/>
                    <a:pt x="447529" y="86961"/>
                    <a:pt x="424967" y="86288"/>
                  </a:cubicBezTo>
                  <a:cubicBezTo>
                    <a:pt x="406783" y="85614"/>
                    <a:pt x="389272" y="83257"/>
                    <a:pt x="372772" y="75512"/>
                  </a:cubicBezTo>
                  <a:cubicBezTo>
                    <a:pt x="348863" y="64063"/>
                    <a:pt x="336404" y="40828"/>
                    <a:pt x="339435" y="14899"/>
                  </a:cubicBezTo>
                  <a:cubicBezTo>
                    <a:pt x="340782" y="4797"/>
                    <a:pt x="346506" y="-2949"/>
                    <a:pt x="355935" y="1092"/>
                  </a:cubicBezTo>
                  <a:cubicBezTo>
                    <a:pt x="403079" y="20960"/>
                    <a:pt x="453590" y="9511"/>
                    <a:pt x="502080" y="16582"/>
                  </a:cubicBezTo>
                  <a:cubicBezTo>
                    <a:pt x="550571" y="23654"/>
                    <a:pt x="590307" y="47226"/>
                    <a:pt x="628695" y="75175"/>
                  </a:cubicBezTo>
                  <a:cubicBezTo>
                    <a:pt x="657655" y="96390"/>
                    <a:pt x="684257" y="120299"/>
                    <a:pt x="711197" y="144207"/>
                  </a:cubicBezTo>
                  <a:cubicBezTo>
                    <a:pt x="731401" y="164412"/>
                    <a:pt x="729717" y="159697"/>
                    <a:pt x="734432" y="171146"/>
                  </a:cubicBezTo>
                  <a:cubicBezTo>
                    <a:pt x="737126" y="208525"/>
                    <a:pt x="734769" y="245903"/>
                    <a:pt x="734432" y="283281"/>
                  </a:cubicBezTo>
                  <a:cubicBezTo>
                    <a:pt x="733758" y="334129"/>
                    <a:pt x="731738" y="384977"/>
                    <a:pt x="730054" y="435825"/>
                  </a:cubicBezTo>
                  <a:cubicBezTo>
                    <a:pt x="722309" y="435488"/>
                    <a:pt x="714227" y="435488"/>
                    <a:pt x="706819" y="434141"/>
                  </a:cubicBezTo>
                  <a:cubicBezTo>
                    <a:pt x="676512" y="429763"/>
                    <a:pt x="650583" y="443906"/>
                    <a:pt x="623644" y="453672"/>
                  </a:cubicBezTo>
                  <a:cubicBezTo>
                    <a:pt x="595695" y="463774"/>
                    <a:pt x="566735" y="469836"/>
                    <a:pt x="537102" y="470509"/>
                  </a:cubicBezTo>
                  <a:cubicBezTo>
                    <a:pt x="487938" y="471519"/>
                    <a:pt x="438437" y="470509"/>
                    <a:pt x="389272" y="470846"/>
                  </a:cubicBezTo>
                  <a:cubicBezTo>
                    <a:pt x="367721" y="471183"/>
                    <a:pt x="346843" y="466468"/>
                    <a:pt x="325965" y="463101"/>
                  </a:cubicBezTo>
                  <a:cubicBezTo>
                    <a:pt x="292965" y="457376"/>
                    <a:pt x="282862" y="419324"/>
                    <a:pt x="303403" y="394742"/>
                  </a:cubicBezTo>
                  <a:cubicBezTo>
                    <a:pt x="274444" y="386324"/>
                    <a:pt x="239760" y="383630"/>
                    <a:pt x="239760" y="342211"/>
                  </a:cubicBezTo>
                  <a:cubicBezTo>
                    <a:pt x="239760" y="308874"/>
                    <a:pt x="267709" y="302139"/>
                    <a:pt x="295658" y="291363"/>
                  </a:cubicBezTo>
                  <a:cubicBezTo>
                    <a:pt x="278485" y="289006"/>
                    <a:pt x="265689" y="284965"/>
                    <a:pt x="253566" y="278903"/>
                  </a:cubicBezTo>
                  <a:cubicBezTo>
                    <a:pt x="235045" y="269475"/>
                    <a:pt x="226963" y="254995"/>
                    <a:pt x="229657" y="238831"/>
                  </a:cubicBezTo>
                  <a:cubicBezTo>
                    <a:pt x="232351" y="223005"/>
                    <a:pt x="245484" y="211555"/>
                    <a:pt x="265015" y="208188"/>
                  </a:cubicBezTo>
                  <a:cubicBezTo>
                    <a:pt x="267709" y="207851"/>
                    <a:pt x="292965" y="205494"/>
                    <a:pt x="301383" y="202127"/>
                  </a:cubicBezTo>
                  <a:cubicBezTo>
                    <a:pt x="297679" y="199433"/>
                    <a:pt x="292965" y="196065"/>
                    <a:pt x="286903" y="195055"/>
                  </a:cubicBezTo>
                  <a:cubicBezTo>
                    <a:pt x="216188" y="194382"/>
                    <a:pt x="145809" y="194382"/>
                    <a:pt x="75430" y="194045"/>
                  </a:cubicBezTo>
                  <a:close/>
                </a:path>
              </a:pathLst>
            </a:custGeom>
            <a:solidFill>
              <a:srgbClr val="FCC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36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ZA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13057CB-50B7-5B2F-FB3D-E7B707D48CF9}"/>
              </a:ext>
            </a:extLst>
          </p:cNvPr>
          <p:cNvSpPr txBox="1"/>
          <p:nvPr/>
        </p:nvSpPr>
        <p:spPr>
          <a:xfrm>
            <a:off x="6575425" y="4527550"/>
            <a:ext cx="2719388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ko-KR" sz="1400" b="1" spc="300" dirty="0">
                <a:cs typeface="Arial" pitchFamily="34" charset="0"/>
              </a:rPr>
              <a:t>CERTIFICATE</a:t>
            </a:r>
            <a:endParaRPr lang="ko-KR" altLang="en-US" sz="1400" b="1" spc="300" dirty="0">
              <a:cs typeface="Arial" pitchFamily="34" charset="0"/>
            </a:endParaRPr>
          </a:p>
        </p:txBody>
      </p:sp>
      <p:grpSp>
        <p:nvGrpSpPr>
          <p:cNvPr id="40967" name="Group 49">
            <a:extLst>
              <a:ext uri="{FF2B5EF4-FFF2-40B4-BE49-F238E27FC236}">
                <a16:creationId xmlns:a16="http://schemas.microsoft.com/office/drawing/2014/main" id="{EDA1400A-36E7-8511-C4F6-4A6174E64D0F}"/>
              </a:ext>
            </a:extLst>
          </p:cNvPr>
          <p:cNvGrpSpPr>
            <a:grpSpLocks/>
          </p:cNvGrpSpPr>
          <p:nvPr/>
        </p:nvGrpSpPr>
        <p:grpSpPr bwMode="auto">
          <a:xfrm flipH="1">
            <a:off x="960438" y="1774825"/>
            <a:ext cx="4387850" cy="4406900"/>
            <a:chOff x="6630114" y="1760821"/>
            <a:chExt cx="4388029" cy="4407389"/>
          </a:xfrm>
        </p:grpSpPr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061F10EF-B8CB-F9F1-D56C-29AD2D190BA2}"/>
                </a:ext>
              </a:extLst>
            </p:cNvPr>
            <p:cNvCxnSpPr/>
            <p:nvPr/>
          </p:nvCxnSpPr>
          <p:spPr>
            <a:xfrm>
              <a:off x="6636464" y="2983332"/>
              <a:ext cx="1079544" cy="3175"/>
            </a:xfrm>
            <a:prstGeom prst="straightConnector1">
              <a:avLst/>
            </a:prstGeom>
            <a:ln w="38100">
              <a:solidFill>
                <a:schemeClr val="accent2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71FB171B-17A8-895A-6717-862D2BCE140F}"/>
                </a:ext>
              </a:extLst>
            </p:cNvPr>
            <p:cNvCxnSpPr/>
            <p:nvPr/>
          </p:nvCxnSpPr>
          <p:spPr>
            <a:xfrm>
              <a:off x="6630114" y="3935937"/>
              <a:ext cx="1079544" cy="0"/>
            </a:xfrm>
            <a:prstGeom prst="straightConnector1">
              <a:avLst/>
            </a:prstGeom>
            <a:ln w="38100">
              <a:solidFill>
                <a:schemeClr val="accent3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B3BEBC9A-AF3F-DB90-DB72-D8C7EEFA6586}"/>
                </a:ext>
              </a:extLst>
            </p:cNvPr>
            <p:cNvCxnSpPr/>
            <p:nvPr/>
          </p:nvCxnSpPr>
          <p:spPr>
            <a:xfrm>
              <a:off x="6682504" y="2016437"/>
              <a:ext cx="1079544" cy="0"/>
            </a:xfrm>
            <a:prstGeom prst="straightConnector1">
              <a:avLst/>
            </a:prstGeom>
            <a:ln w="38100">
              <a:solidFill>
                <a:schemeClr val="accent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0971" name="그룹 12">
              <a:extLst>
                <a:ext uri="{FF2B5EF4-FFF2-40B4-BE49-F238E27FC236}">
                  <a16:creationId xmlns:a16="http://schemas.microsoft.com/office/drawing/2014/main" id="{F5B36C20-326E-5D54-67F1-9FCE7FD20E5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839317" y="1760821"/>
              <a:ext cx="3178824" cy="589537"/>
              <a:chOff x="8815264" y="1711124"/>
              <a:chExt cx="3178824" cy="589537"/>
            </a:xfrm>
          </p:grpSpPr>
          <p:sp>
            <p:nvSpPr>
              <p:cNvPr id="40980" name="TextBox 68">
                <a:extLst>
                  <a:ext uri="{FF2B5EF4-FFF2-40B4-BE49-F238E27FC236}">
                    <a16:creationId xmlns:a16="http://schemas.microsoft.com/office/drawing/2014/main" id="{83C3760A-1D27-1BB0-7379-B0E374B9232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815264" y="1711124"/>
                <a:ext cx="878954" cy="523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altLang="ko-KR" sz="2800" b="1">
                    <a:solidFill>
                      <a:schemeClr val="accent1"/>
                    </a:solidFill>
                    <a:cs typeface="Arial" panose="020B0604020202020204" pitchFamily="34" charset="0"/>
                  </a:rPr>
                  <a:t>1</a:t>
                </a:r>
                <a:endParaRPr lang="ko-KR" altLang="en-US" b="1">
                  <a:solidFill>
                    <a:schemeClr val="accent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70" name="Text Placeholder 12">
                <a:extLst>
                  <a:ext uri="{FF2B5EF4-FFF2-40B4-BE49-F238E27FC236}">
                    <a16:creationId xmlns:a16="http://schemas.microsoft.com/office/drawing/2014/main" id="{A8ECDC85-8925-19EF-28E0-FBDE5B1B0A3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835002" y="1733351"/>
                <a:ext cx="2159088" cy="566800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itchFamily="34" charset="0"/>
                  <a:buNone/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mployer representative. E.g., Supervisor</a:t>
                </a:r>
                <a:endParaRPr lang="ko-KR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0972" name="그룹 11">
              <a:extLst>
                <a:ext uri="{FF2B5EF4-FFF2-40B4-BE49-F238E27FC236}">
                  <a16:creationId xmlns:a16="http://schemas.microsoft.com/office/drawing/2014/main" id="{AFEAB71E-02AD-F31A-BB7E-77D403FAB57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97465" y="2720939"/>
              <a:ext cx="3220676" cy="792391"/>
              <a:chOff x="8113984" y="2574527"/>
              <a:chExt cx="3220676" cy="792391"/>
            </a:xfrm>
          </p:grpSpPr>
          <p:sp>
            <p:nvSpPr>
              <p:cNvPr id="40978" name="TextBox 66">
                <a:extLst>
                  <a:ext uri="{FF2B5EF4-FFF2-40B4-BE49-F238E27FC236}">
                    <a16:creationId xmlns:a16="http://schemas.microsoft.com/office/drawing/2014/main" id="{72397C49-EF13-EA1E-E96E-399DACE552D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113984" y="2574527"/>
                <a:ext cx="878954" cy="523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altLang="ko-KR" sz="2800" b="1">
                    <a:solidFill>
                      <a:schemeClr val="accent2"/>
                    </a:solidFill>
                    <a:cs typeface="Arial" panose="020B0604020202020204" pitchFamily="34" charset="0"/>
                  </a:rPr>
                  <a:t>2</a:t>
                </a:r>
                <a:endParaRPr lang="ko-KR" altLang="en-US" b="1">
                  <a:solidFill>
                    <a:schemeClr val="accent2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68" name="Text Placeholder 12">
                <a:extLst>
                  <a:ext uri="{FF2B5EF4-FFF2-40B4-BE49-F238E27FC236}">
                    <a16:creationId xmlns:a16="http://schemas.microsoft.com/office/drawing/2014/main" id="{F784CA3D-F926-F71A-F656-89A6AA65ACC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900926" y="2616234"/>
                <a:ext cx="2433736" cy="750970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itchFamily="34" charset="0"/>
                  <a:buNone/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raining Organization. E.g., Instructors, Designated examiners</a:t>
                </a:r>
                <a:endParaRPr lang="ko-KR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0973" name="그룹 10">
              <a:extLst>
                <a:ext uri="{FF2B5EF4-FFF2-40B4-BE49-F238E27FC236}">
                  <a16:creationId xmlns:a16="http://schemas.microsoft.com/office/drawing/2014/main" id="{9F7EBD88-7221-6ACC-EA10-B6A09F8F567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802997" y="3672743"/>
              <a:ext cx="3152482" cy="568287"/>
              <a:chOff x="7802996" y="3429616"/>
              <a:chExt cx="3152482" cy="568287"/>
            </a:xfrm>
          </p:grpSpPr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FA3CE99C-B4A1-B392-8515-B003671731FA}"/>
                  </a:ext>
                </a:extLst>
              </p:cNvPr>
              <p:cNvSpPr txBox="1"/>
              <p:nvPr/>
            </p:nvSpPr>
            <p:spPr>
              <a:xfrm>
                <a:off x="7803323" y="3429256"/>
                <a:ext cx="879511" cy="523933"/>
              </a:xfrm>
              <a:prstGeom prst="rect">
                <a:avLst/>
              </a:prstGeom>
              <a:noFill/>
            </p:spPr>
            <p:txBody>
              <a:bodyPr anchor="ctr">
                <a:spAutoFit/>
              </a:bodyPr>
              <a:lstStyle/>
              <a:p>
                <a:pPr algn="ctr">
                  <a:defRPr/>
                </a:pPr>
                <a:r>
                  <a:rPr lang="en-US" altLang="ko-KR" sz="2800" b="1" dirty="0">
                    <a:solidFill>
                      <a:schemeClr val="accent3"/>
                    </a:solidFill>
                    <a:cs typeface="Arial" pitchFamily="34" charset="0"/>
                  </a:rPr>
                  <a:t>3</a:t>
                </a:r>
                <a:endParaRPr lang="ko-KR" altLang="en-US" b="1" dirty="0">
                  <a:solidFill>
                    <a:schemeClr val="accent3"/>
                  </a:solidFill>
                  <a:cs typeface="Arial" pitchFamily="34" charset="0"/>
                </a:endParaRPr>
              </a:p>
            </p:txBody>
          </p:sp>
          <p:sp>
            <p:nvSpPr>
              <p:cNvPr id="66" name="Text Placeholder 12">
                <a:extLst>
                  <a:ext uri="{FF2B5EF4-FFF2-40B4-BE49-F238E27FC236}">
                    <a16:creationId xmlns:a16="http://schemas.microsoft.com/office/drawing/2014/main" id="{D67A94E7-A566-15F5-3772-8A3DB7EA31B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725698" y="3448308"/>
                <a:ext cx="2230529" cy="549336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itchFamily="34" charset="0"/>
                  <a:buNone/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ngerous Goods Responsible person.  </a:t>
                </a:r>
                <a:endParaRPr lang="ko-KR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4" name="Text Placeholder 12">
              <a:extLst>
                <a:ext uri="{FF2B5EF4-FFF2-40B4-BE49-F238E27FC236}">
                  <a16:creationId xmlns:a16="http://schemas.microsoft.com/office/drawing/2014/main" id="{6FD2E4B8-6022-40B8-FC3D-0D1FA482F38F}"/>
                </a:ext>
              </a:extLst>
            </p:cNvPr>
            <p:cNvSpPr txBox="1">
              <a:spLocks/>
            </p:cNvSpPr>
            <p:nvPr/>
          </p:nvSpPr>
          <p:spPr>
            <a:xfrm>
              <a:off x="8859055" y="5701433"/>
              <a:ext cx="1500249" cy="466777"/>
            </a:xfrm>
            <a:prstGeom prst="rect">
              <a:avLst/>
            </a:prstGeom>
          </p:spPr>
          <p:txBody>
            <a:bodyPr/>
            <a:lstStyle>
              <a:lvl1pPr marL="342900" indent="-3429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  <a:defRPr/>
              </a:pP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62" name="Text Placeholder 12">
              <a:extLst>
                <a:ext uri="{FF2B5EF4-FFF2-40B4-BE49-F238E27FC236}">
                  <a16:creationId xmlns:a16="http://schemas.microsoft.com/office/drawing/2014/main" id="{5A5B1603-B05A-1743-9CA9-F1FF7DEF5906}"/>
                </a:ext>
              </a:extLst>
            </p:cNvPr>
            <p:cNvSpPr txBox="1">
              <a:spLocks/>
            </p:cNvSpPr>
            <p:nvPr/>
          </p:nvSpPr>
          <p:spPr>
            <a:xfrm>
              <a:off x="6650753" y="4721838"/>
              <a:ext cx="4367390" cy="1106610"/>
            </a:xfrm>
            <a:prstGeom prst="rect">
              <a:avLst/>
            </a:prstGeom>
          </p:spPr>
          <p:txBody>
            <a:bodyPr/>
            <a:lstStyle>
              <a:lvl1pPr marL="342900" indent="-3429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  <a:defRPr/>
              </a:pPr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sessor Qualification.</a:t>
              </a:r>
            </a:p>
            <a:p>
              <a:pPr marL="0" indent="0">
                <a:buFont typeface="Arial" pitchFamily="34" charset="0"/>
                <a:buNone/>
                <a:defRPr/>
              </a:pPr>
              <a:endPara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buFont typeface="Wingdings" panose="05000000000000000000" pitchFamily="2" charset="2"/>
                <a:buChar char="ü"/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ngerous goods Group A advanced proficiency</a:t>
              </a:r>
            </a:p>
            <a:p>
              <a:pPr>
                <a:buFont typeface="Wingdings" panose="05000000000000000000" pitchFamily="2" charset="2"/>
                <a:buChar char="ü"/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nowledge of the operation </a:t>
              </a:r>
            </a:p>
            <a:p>
              <a:pPr marL="0" indent="0">
                <a:buFont typeface="Arial" pitchFamily="34" charset="0"/>
                <a:buNone/>
                <a:defRPr/>
              </a:pPr>
              <a:endPara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>
                <a:buFont typeface="Arial" pitchFamily="34" charset="0"/>
                <a:buNone/>
                <a:defRPr/>
              </a:pP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43EA539-0FFA-87D6-7CA8-C23A56B50E12}"/>
              </a:ext>
            </a:extLst>
          </p:cNvPr>
          <p:cNvSpPr txBox="1"/>
          <p:nvPr/>
        </p:nvSpPr>
        <p:spPr>
          <a:xfrm>
            <a:off x="3002420" y="248245"/>
            <a:ext cx="6096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Assessors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4728A51-D7F8-0D19-13FA-588405408C16}"/>
              </a:ext>
            </a:extLst>
          </p:cNvPr>
          <p:cNvSpPr/>
          <p:nvPr/>
        </p:nvSpPr>
        <p:spPr>
          <a:xfrm>
            <a:off x="474395" y="1211664"/>
            <a:ext cx="2740160" cy="313193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96132D2-B407-29FD-2582-8E4B4D0ED0D5}"/>
              </a:ext>
            </a:extLst>
          </p:cNvPr>
          <p:cNvSpPr/>
          <p:nvPr/>
        </p:nvSpPr>
        <p:spPr>
          <a:xfrm>
            <a:off x="474395" y="1745414"/>
            <a:ext cx="3312159" cy="34142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6DAEEFA-8EBC-818B-B374-363DE10DF99A}"/>
              </a:ext>
            </a:extLst>
          </p:cNvPr>
          <p:cNvSpPr/>
          <p:nvPr/>
        </p:nvSpPr>
        <p:spPr>
          <a:xfrm>
            <a:off x="474395" y="2423736"/>
            <a:ext cx="3802446" cy="316305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501AFDF-43B7-8AA6-E464-379EEDBF9BE8}"/>
              </a:ext>
            </a:extLst>
          </p:cNvPr>
          <p:cNvSpPr/>
          <p:nvPr/>
        </p:nvSpPr>
        <p:spPr>
          <a:xfrm>
            <a:off x="474395" y="3050140"/>
            <a:ext cx="4315008" cy="34142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4003C0-36F2-B2CE-627C-889F00A74B4A}"/>
              </a:ext>
            </a:extLst>
          </p:cNvPr>
          <p:cNvSpPr/>
          <p:nvPr/>
        </p:nvSpPr>
        <p:spPr>
          <a:xfrm>
            <a:off x="444438" y="3768713"/>
            <a:ext cx="4757932" cy="340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16E091-BDC7-5EB3-85AA-71BF7BB6B630}"/>
              </a:ext>
            </a:extLst>
          </p:cNvPr>
          <p:cNvSpPr/>
          <p:nvPr/>
        </p:nvSpPr>
        <p:spPr>
          <a:xfrm>
            <a:off x="444438" y="4496798"/>
            <a:ext cx="5324942" cy="34007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E04DA5-66EB-29E8-D4BD-788208AA48B4}"/>
              </a:ext>
            </a:extLst>
          </p:cNvPr>
          <p:cNvSpPr/>
          <p:nvPr/>
        </p:nvSpPr>
        <p:spPr>
          <a:xfrm>
            <a:off x="474395" y="5182654"/>
            <a:ext cx="5984240" cy="37131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A2BDE0-1FC8-02EE-A396-8DCC78C2A08E}"/>
              </a:ext>
            </a:extLst>
          </p:cNvPr>
          <p:cNvSpPr/>
          <p:nvPr/>
        </p:nvSpPr>
        <p:spPr>
          <a:xfrm>
            <a:off x="474395" y="5826982"/>
            <a:ext cx="6408525" cy="30023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0093F1-8EC1-0969-A2C1-07ADAA0268D3}"/>
              </a:ext>
            </a:extLst>
          </p:cNvPr>
          <p:cNvSpPr txBox="1"/>
          <p:nvPr/>
        </p:nvSpPr>
        <p:spPr>
          <a:xfrm>
            <a:off x="2183746" y="1197774"/>
            <a:ext cx="10581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A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6EF001A-10BB-4DBD-7E9B-581B472BBBBA}"/>
              </a:ext>
            </a:extLst>
          </p:cNvPr>
          <p:cNvSpPr txBox="1"/>
          <p:nvPr/>
        </p:nvSpPr>
        <p:spPr>
          <a:xfrm>
            <a:off x="2756325" y="1749124"/>
            <a:ext cx="11724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B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C51F498-61D4-7E58-F035-6B1B54F73E29}"/>
              </a:ext>
            </a:extLst>
          </p:cNvPr>
          <p:cNvSpPr txBox="1"/>
          <p:nvPr/>
        </p:nvSpPr>
        <p:spPr>
          <a:xfrm>
            <a:off x="3160519" y="2414232"/>
            <a:ext cx="12520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C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36E6A99-301C-AA2A-2B69-8FBE2865D7E4}"/>
              </a:ext>
            </a:extLst>
          </p:cNvPr>
          <p:cNvSpPr txBox="1"/>
          <p:nvPr/>
        </p:nvSpPr>
        <p:spPr>
          <a:xfrm>
            <a:off x="3678657" y="3035328"/>
            <a:ext cx="12083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D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B908B24-5081-D48D-6B29-4F8D567B34BF}"/>
              </a:ext>
            </a:extLst>
          </p:cNvPr>
          <p:cNvSpPr txBox="1"/>
          <p:nvPr/>
        </p:nvSpPr>
        <p:spPr>
          <a:xfrm>
            <a:off x="4185222" y="3765247"/>
            <a:ext cx="12083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E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D6DC6F8-0B09-B50B-7BF4-FBC1A1E63F9A}"/>
              </a:ext>
            </a:extLst>
          </p:cNvPr>
          <p:cNvSpPr txBox="1"/>
          <p:nvPr/>
        </p:nvSpPr>
        <p:spPr>
          <a:xfrm>
            <a:off x="4633386" y="4516990"/>
            <a:ext cx="11561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F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41BBE83-9791-4F90-F742-B7F144B7ADE0}"/>
              </a:ext>
            </a:extLst>
          </p:cNvPr>
          <p:cNvSpPr txBox="1"/>
          <p:nvPr/>
        </p:nvSpPr>
        <p:spPr>
          <a:xfrm>
            <a:off x="5419105" y="5194650"/>
            <a:ext cx="12083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G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0979EA0-5773-A51B-9D5D-6DFF8A9A34D1}"/>
              </a:ext>
            </a:extLst>
          </p:cNvPr>
          <p:cNvSpPr txBox="1"/>
          <p:nvPr/>
        </p:nvSpPr>
        <p:spPr>
          <a:xfrm>
            <a:off x="5684177" y="5806121"/>
            <a:ext cx="12083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H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2556656-4474-F547-D284-17BEDDE7B8C3}"/>
              </a:ext>
            </a:extLst>
          </p:cNvPr>
          <p:cNvGrpSpPr/>
          <p:nvPr/>
        </p:nvGrpSpPr>
        <p:grpSpPr>
          <a:xfrm>
            <a:off x="3376531" y="970940"/>
            <a:ext cx="7162434" cy="819965"/>
            <a:chOff x="2428422" y="3926277"/>
            <a:chExt cx="2679288" cy="892035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561E506-40D6-DB46-C7C6-6835B2BF67C2}"/>
                </a:ext>
              </a:extLst>
            </p:cNvPr>
            <p:cNvSpPr txBox="1"/>
            <p:nvPr/>
          </p:nvSpPr>
          <p:spPr>
            <a:xfrm>
              <a:off x="2538455" y="4214062"/>
              <a:ext cx="256925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Arial" pitchFamily="34" charset="0"/>
                </a:rPr>
                <a:t>DG acceptance personnel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rPr>
                <a:t>. DG advanced proficiency level for Instructors/moderators/assessors, </a:t>
              </a:r>
              <a:r>
                <a:rPr kumimoji="0" lang="en-US" altLang="ko-KR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rPr>
                <a:t>etc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rPr>
                <a:t>  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E09F3FC-2974-CADA-456F-A7CE92D0501F}"/>
                </a:ext>
              </a:extLst>
            </p:cNvPr>
            <p:cNvSpPr txBox="1"/>
            <p:nvPr/>
          </p:nvSpPr>
          <p:spPr>
            <a:xfrm>
              <a:off x="2428422" y="3926277"/>
              <a:ext cx="2547414" cy="8920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+mn-cs"/>
                </a:rPr>
                <a:t>DG acceptance personnel/ DG advanced proficiency Level </a:t>
              </a: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091BF60-EE9B-0008-5ECF-6DA4CCE62F00}"/>
              </a:ext>
            </a:extLst>
          </p:cNvPr>
          <p:cNvSpPr txBox="1"/>
          <p:nvPr/>
        </p:nvSpPr>
        <p:spPr>
          <a:xfrm>
            <a:off x="3945253" y="1726888"/>
            <a:ext cx="46862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Non-DG cargo acceptance personnel 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8064A2">
                  <a:lumMod val="75000"/>
                </a:srgbClr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A220D3E-3C8E-2D54-7911-5526E5305613}"/>
              </a:ext>
            </a:extLst>
          </p:cNvPr>
          <p:cNvSpPr txBox="1"/>
          <p:nvPr/>
        </p:nvSpPr>
        <p:spPr>
          <a:xfrm>
            <a:off x="4358553" y="1987888"/>
            <a:ext cx="4694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Non-DG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 </a:t>
            </a:r>
            <a:r>
              <a:rPr kumimoji="0" lang="en-ZA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cargo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30BAC3F-D19C-925A-1ECE-3AF92303363C}"/>
              </a:ext>
            </a:extLst>
          </p:cNvPr>
          <p:cNvSpPr txBox="1"/>
          <p:nvPr/>
        </p:nvSpPr>
        <p:spPr>
          <a:xfrm>
            <a:off x="4473483" y="2319726"/>
            <a:ext cx="4426624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9BBB59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Pilots/Load Controllers 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9BBB59">
                  <a:lumMod val="75000"/>
                </a:srgbClr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0F6E625-EE35-B679-2317-F91FC59CAD13}"/>
              </a:ext>
            </a:extLst>
          </p:cNvPr>
          <p:cNvSpPr txBox="1"/>
          <p:nvPr/>
        </p:nvSpPr>
        <p:spPr>
          <a:xfrm>
            <a:off x="4487594" y="2644730"/>
            <a:ext cx="4477219" cy="277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Pilots, Load controllers, Flight Dispatch, Flight Operations office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8F528B3-16AA-1B3E-4A21-8386DAEF4864}"/>
              </a:ext>
            </a:extLst>
          </p:cNvPr>
          <p:cNvGrpSpPr/>
          <p:nvPr/>
        </p:nvGrpSpPr>
        <p:grpSpPr>
          <a:xfrm>
            <a:off x="5082767" y="2977389"/>
            <a:ext cx="4366416" cy="486922"/>
            <a:chOff x="2543198" y="4388490"/>
            <a:chExt cx="2577763" cy="486922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8A88EB7-FF7C-909D-3606-73AA6D282C1E}"/>
                </a:ext>
              </a:extLst>
            </p:cNvPr>
            <p:cNvSpPr txBox="1"/>
            <p:nvPr/>
          </p:nvSpPr>
          <p:spPr>
            <a:xfrm>
              <a:off x="2551706" y="4598413"/>
              <a:ext cx="25692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Arial" pitchFamily="34" charset="0"/>
                </a:rPr>
                <a:t>Cabin Crew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52A7C36-70F7-0000-6DB0-FF7FEC75F40E}"/>
                </a:ext>
              </a:extLst>
            </p:cNvPr>
            <p:cNvSpPr txBox="1"/>
            <p:nvPr/>
          </p:nvSpPr>
          <p:spPr>
            <a:xfrm>
              <a:off x="2543198" y="4388490"/>
              <a:ext cx="25474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C0504D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+mn-cs"/>
                </a:rPr>
                <a:t>Cabin Crew </a:t>
              </a: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75000"/>
                  </a:srgbClr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03902D8B-95D8-2034-D317-C3755F69E686}"/>
              </a:ext>
            </a:extLst>
          </p:cNvPr>
          <p:cNvSpPr txBox="1"/>
          <p:nvPr/>
        </p:nvSpPr>
        <p:spPr>
          <a:xfrm>
            <a:off x="5393582" y="3630816"/>
            <a:ext cx="5874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Passenger handling, baggage handling, security 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7B68A91-9764-1C5D-1DC2-C1CBD4F31184}"/>
              </a:ext>
            </a:extLst>
          </p:cNvPr>
          <p:cNvSpPr txBox="1"/>
          <p:nvPr/>
        </p:nvSpPr>
        <p:spPr>
          <a:xfrm>
            <a:off x="5484686" y="3891379"/>
            <a:ext cx="5950087" cy="353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Check-in, Baggage handlers, Warehouse personnel, security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 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B49B2B8-005F-B916-14E2-691DDEF6CCC6}"/>
              </a:ext>
            </a:extLst>
          </p:cNvPr>
          <p:cNvGrpSpPr/>
          <p:nvPr/>
        </p:nvGrpSpPr>
        <p:grpSpPr>
          <a:xfrm>
            <a:off x="5769380" y="4375089"/>
            <a:ext cx="4767383" cy="569888"/>
            <a:chOff x="2551706" y="4276125"/>
            <a:chExt cx="2733529" cy="470600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82C6705-5E2D-F687-40C7-B31F5D6432E4}"/>
                </a:ext>
              </a:extLst>
            </p:cNvPr>
            <p:cNvSpPr txBox="1"/>
            <p:nvPr/>
          </p:nvSpPr>
          <p:spPr>
            <a:xfrm>
              <a:off x="2715980" y="4469726"/>
              <a:ext cx="25692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Arial" pitchFamily="34" charset="0"/>
                </a:rPr>
                <a:t>Shippers/packers/freight forwarders/courier personnel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5DB9CF7-5E58-95B2-DAA5-52D12E5A3EA5}"/>
                </a:ext>
              </a:extLst>
            </p:cNvPr>
            <p:cNvSpPr txBox="1"/>
            <p:nvPr/>
          </p:nvSpPr>
          <p:spPr>
            <a:xfrm>
              <a:off x="2551706" y="4276125"/>
              <a:ext cx="25474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+mn-cs"/>
                </a:rPr>
                <a:t>Shippers/Packers of dangerous goods </a:t>
              </a: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4DAAE9BA-99D5-1DE3-0371-6813D552CEA0}"/>
              </a:ext>
            </a:extLst>
          </p:cNvPr>
          <p:cNvSpPr txBox="1"/>
          <p:nvPr/>
        </p:nvSpPr>
        <p:spPr>
          <a:xfrm>
            <a:off x="6649215" y="5118946"/>
            <a:ext cx="44425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hipping of infectious substan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92AA8F3-91D1-E7F5-4203-2AE1AEECB21C}"/>
              </a:ext>
            </a:extLst>
          </p:cNvPr>
          <p:cNvSpPr txBox="1"/>
          <p:nvPr/>
        </p:nvSpPr>
        <p:spPr>
          <a:xfrm>
            <a:off x="7119766" y="5748613"/>
            <a:ext cx="43150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Lithium batteries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705797C-C53A-3880-4CD2-A8C4071DE80D}"/>
              </a:ext>
            </a:extLst>
          </p:cNvPr>
          <p:cNvSpPr txBox="1"/>
          <p:nvPr/>
        </p:nvSpPr>
        <p:spPr>
          <a:xfrm>
            <a:off x="2741537" y="228600"/>
            <a:ext cx="6096000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3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Grouping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157228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B6EF001A-10BB-4DBD-7E9B-581B472BBBBA}"/>
              </a:ext>
            </a:extLst>
          </p:cNvPr>
          <p:cNvSpPr txBox="1"/>
          <p:nvPr/>
        </p:nvSpPr>
        <p:spPr>
          <a:xfrm>
            <a:off x="2756325" y="1749124"/>
            <a:ext cx="11724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B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36E6A99-301C-AA2A-2B69-8FBE2865D7E4}"/>
              </a:ext>
            </a:extLst>
          </p:cNvPr>
          <p:cNvSpPr txBox="1"/>
          <p:nvPr/>
        </p:nvSpPr>
        <p:spPr>
          <a:xfrm>
            <a:off x="3678657" y="3035328"/>
            <a:ext cx="12083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D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B908B24-5081-D48D-6B29-4F8D567B34BF}"/>
              </a:ext>
            </a:extLst>
          </p:cNvPr>
          <p:cNvSpPr txBox="1"/>
          <p:nvPr/>
        </p:nvSpPr>
        <p:spPr>
          <a:xfrm>
            <a:off x="4185222" y="3765247"/>
            <a:ext cx="12083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E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D6DC6F8-0B09-B50B-7BF4-FBC1A1E63F9A}"/>
              </a:ext>
            </a:extLst>
          </p:cNvPr>
          <p:cNvSpPr txBox="1"/>
          <p:nvPr/>
        </p:nvSpPr>
        <p:spPr>
          <a:xfrm>
            <a:off x="4633386" y="4516990"/>
            <a:ext cx="11561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F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41BBE83-9791-4F90-F742-B7F144B7ADE0}"/>
              </a:ext>
            </a:extLst>
          </p:cNvPr>
          <p:cNvSpPr txBox="1"/>
          <p:nvPr/>
        </p:nvSpPr>
        <p:spPr>
          <a:xfrm>
            <a:off x="5419105" y="5194650"/>
            <a:ext cx="12083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G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0979EA0-5773-A51B-9D5D-6DFF8A9A34D1}"/>
              </a:ext>
            </a:extLst>
          </p:cNvPr>
          <p:cNvSpPr txBox="1"/>
          <p:nvPr/>
        </p:nvSpPr>
        <p:spPr>
          <a:xfrm>
            <a:off x="5684177" y="5806121"/>
            <a:ext cx="12083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Group H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705797C-C53A-3880-4CD2-A8C4071DE80D}"/>
              </a:ext>
            </a:extLst>
          </p:cNvPr>
          <p:cNvSpPr txBox="1"/>
          <p:nvPr/>
        </p:nvSpPr>
        <p:spPr>
          <a:xfrm>
            <a:off x="2741537" y="457200"/>
            <a:ext cx="6096000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3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urriculum guideline </a:t>
            </a:r>
            <a:endParaRPr lang="en-ZA" dirty="0"/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A4599356-70AF-7CE7-5F19-81EFBBB854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1776" y="1215294"/>
            <a:ext cx="8763000" cy="509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1021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0" y="357188"/>
            <a:ext cx="10515600" cy="669925"/>
          </a:xfrm>
        </p:spPr>
        <p:txBody>
          <a:bodyPr>
            <a:normAutofit fontScale="90000"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tabLst/>
              <a:defRPr/>
            </a:pPr>
            <a:r>
              <a:rPr kumimoji="0" lang="en-ZA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he Regulator</a:t>
            </a:r>
            <a:br>
              <a:rPr kumimoji="0" lang="en-ZA" sz="5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 panose="020F0302020204030204"/>
                <a:ea typeface="+mn-ea"/>
                <a:cs typeface="Arial" pitchFamily="34" charset="0"/>
              </a:rPr>
            </a:br>
            <a:endParaRPr lang="en-ZA" dirty="0"/>
          </a:p>
        </p:txBody>
      </p:sp>
      <p:cxnSp>
        <p:nvCxnSpPr>
          <p:cNvPr id="6" name="Connecteur droit 5"/>
          <p:cNvCxnSpPr/>
          <p:nvPr/>
        </p:nvCxnSpPr>
        <p:spPr>
          <a:xfrm>
            <a:off x="6096000" y="2291468"/>
            <a:ext cx="0" cy="3718852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1969316" y="2028217"/>
            <a:ext cx="17406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ZA" b="1" dirty="0">
                <a:solidFill>
                  <a:schemeClr val="accent1"/>
                </a:solidFill>
              </a:rPr>
              <a:t>The Authority </a:t>
            </a:r>
          </a:p>
        </p:txBody>
      </p:sp>
      <p:sp>
        <p:nvSpPr>
          <p:cNvPr id="41" name="TextBox 7 - 1"/>
          <p:cNvSpPr txBox="1"/>
          <p:nvPr/>
        </p:nvSpPr>
        <p:spPr>
          <a:xfrm>
            <a:off x="1066800" y="2534707"/>
            <a:ext cx="4504104" cy="21646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1200"/>
              </a:spcAft>
              <a:buAutoNum type="arabicPeriod"/>
            </a:pPr>
            <a:r>
              <a:rPr lang="en-US" dirty="0"/>
              <a:t>Regulations </a:t>
            </a:r>
          </a:p>
          <a:p>
            <a:pPr marL="342900" indent="-342900">
              <a:lnSpc>
                <a:spcPct val="150000"/>
              </a:lnSpc>
              <a:spcAft>
                <a:spcPts val="1200"/>
              </a:spcAft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Technical guidance for Inspectors</a:t>
            </a:r>
          </a:p>
          <a:p>
            <a:pPr marL="342900" indent="-342900">
              <a:lnSpc>
                <a:spcPct val="150000"/>
              </a:lnSpc>
              <a:spcAft>
                <a:spcPts val="1200"/>
              </a:spcAft>
              <a:buAutoNum type="arabicPeriod"/>
            </a:pPr>
            <a:r>
              <a:rPr lang="en-US" dirty="0"/>
              <a:t>Policies and Procedures </a:t>
            </a:r>
          </a:p>
          <a:p>
            <a:pPr marL="342900" indent="-342900">
              <a:lnSpc>
                <a:spcPct val="150000"/>
              </a:lnSpc>
              <a:spcAft>
                <a:spcPts val="1200"/>
              </a:spcAft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Checklists  </a:t>
            </a:r>
            <a:endParaRPr lang="en-ZA" dirty="0">
              <a:latin typeface="Arial" panose="020B0604020202020204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7122003" y="2062108"/>
            <a:ext cx="16337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ZA" b="1" dirty="0">
                <a:solidFill>
                  <a:schemeClr val="accent2"/>
                </a:solidFill>
              </a:rPr>
              <a:t>The industry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AAD8E1D-EB23-C23F-0BE9-E63CB564204C}"/>
              </a:ext>
            </a:extLst>
          </p:cNvPr>
          <p:cNvSpPr txBox="1"/>
          <p:nvPr/>
        </p:nvSpPr>
        <p:spPr>
          <a:xfrm>
            <a:off x="2839610" y="971897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thority’s internal considerations- Technical Guidance material and procedures  </a:t>
            </a:r>
          </a:p>
        </p:txBody>
      </p:sp>
      <p:sp>
        <p:nvSpPr>
          <p:cNvPr id="19" name="Ellipse 24">
            <a:extLst>
              <a:ext uri="{FF2B5EF4-FFF2-40B4-BE49-F238E27FC236}">
                <a16:creationId xmlns:a16="http://schemas.microsoft.com/office/drawing/2014/main" id="{55AE3CA9-015F-4517-1E0B-1909715E16C3}"/>
              </a:ext>
            </a:extLst>
          </p:cNvPr>
          <p:cNvSpPr/>
          <p:nvPr/>
        </p:nvSpPr>
        <p:spPr>
          <a:xfrm>
            <a:off x="915682" y="2062108"/>
            <a:ext cx="400456" cy="40045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20" name="Ellipse 29">
            <a:extLst>
              <a:ext uri="{FF2B5EF4-FFF2-40B4-BE49-F238E27FC236}">
                <a16:creationId xmlns:a16="http://schemas.microsoft.com/office/drawing/2014/main" id="{FEC36C48-A8DF-8194-A269-37A037F2268C}"/>
              </a:ext>
            </a:extLst>
          </p:cNvPr>
          <p:cNvSpPr/>
          <p:nvPr/>
        </p:nvSpPr>
        <p:spPr>
          <a:xfrm>
            <a:off x="6244283" y="2106802"/>
            <a:ext cx="400456" cy="40045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2" name="TextBox 7 - 1">
            <a:extLst>
              <a:ext uri="{FF2B5EF4-FFF2-40B4-BE49-F238E27FC236}">
                <a16:creationId xmlns:a16="http://schemas.microsoft.com/office/drawing/2014/main" id="{A321545C-4469-51BE-6934-F2DB0BC4AD93}"/>
              </a:ext>
            </a:extLst>
          </p:cNvPr>
          <p:cNvSpPr txBox="1"/>
          <p:nvPr/>
        </p:nvSpPr>
        <p:spPr>
          <a:xfrm>
            <a:off x="6571987" y="2804677"/>
            <a:ext cx="4504104" cy="15953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1200"/>
              </a:spcAft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Technical guidance for the Industry</a:t>
            </a:r>
          </a:p>
          <a:p>
            <a:pPr marL="342900" indent="-342900">
              <a:lnSpc>
                <a:spcPct val="150000"/>
              </a:lnSpc>
              <a:spcAft>
                <a:spcPts val="1200"/>
              </a:spcAft>
              <a:buAutoNum type="arabicPeriod"/>
            </a:pPr>
            <a:r>
              <a:rPr lang="en-US" dirty="0"/>
              <a:t>Checklists for the industry </a:t>
            </a:r>
          </a:p>
          <a:p>
            <a:pPr marL="342900" indent="-342900">
              <a:lnSpc>
                <a:spcPct val="150000"/>
              </a:lnSpc>
              <a:spcAft>
                <a:spcPts val="1200"/>
              </a:spcAft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Consultations with industry  </a:t>
            </a:r>
            <a:endParaRPr lang="en-ZA" dirty="0">
              <a:latin typeface="Arial" panose="020B0604020202020204" pitchFamily="34" charset="0"/>
            </a:endParaRPr>
          </a:p>
        </p:txBody>
      </p:sp>
      <p:pic>
        <p:nvPicPr>
          <p:cNvPr id="4" name="Picture 3" descr="A close up of a device&#10;&#10;Description automatically generated">
            <a:extLst>
              <a:ext uri="{FF2B5EF4-FFF2-40B4-BE49-F238E27FC236}">
                <a16:creationId xmlns:a16="http://schemas.microsoft.com/office/drawing/2014/main" id="{3AF4BE08-F460-A25C-A9CE-507325204B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200" y="4953000"/>
            <a:ext cx="2633438" cy="11176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" name="Picture 2" descr="How to write customer service procedures — Jeff Toister">
            <a:extLst>
              <a:ext uri="{FF2B5EF4-FFF2-40B4-BE49-F238E27FC236}">
                <a16:creationId xmlns:a16="http://schemas.microsoft.com/office/drawing/2014/main" id="{9FEB76B0-61DF-9B91-4486-9616E5ECCE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4670" y="4572000"/>
            <a:ext cx="2414755" cy="1610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87594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35F7F3-C1B5-4B60-A00A-4EB618DDFB5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19125" y="339725"/>
            <a:ext cx="11572875" cy="7239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rPr>
              <a:t>Operator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itchFamily="34" charset="0"/>
              </a:rPr>
              <a:t>compliance summary </a:t>
            </a:r>
            <a: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 </a:t>
            </a: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  <a:p>
            <a:endParaRPr lang="en-US" dirty="0"/>
          </a:p>
        </p:txBody>
      </p:sp>
      <p:grpSp>
        <p:nvGrpSpPr>
          <p:cNvPr id="61" name="Group 17">
            <a:extLst>
              <a:ext uri="{FF2B5EF4-FFF2-40B4-BE49-F238E27FC236}">
                <a16:creationId xmlns:a16="http://schemas.microsoft.com/office/drawing/2014/main" id="{8B9DBEBA-0A19-42E8-A40B-BA960042EAB9}"/>
              </a:ext>
            </a:extLst>
          </p:cNvPr>
          <p:cNvGrpSpPr/>
          <p:nvPr/>
        </p:nvGrpSpPr>
        <p:grpSpPr>
          <a:xfrm>
            <a:off x="3608440" y="1293445"/>
            <a:ext cx="7973962" cy="1159440"/>
            <a:chOff x="8569720" y="-95020"/>
            <a:chExt cx="5635133" cy="766337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2F5B68DA-89AC-47E3-A09F-219C2CE7114D}"/>
                </a:ext>
              </a:extLst>
            </p:cNvPr>
            <p:cNvSpPr txBox="1"/>
            <p:nvPr/>
          </p:nvSpPr>
          <p:spPr>
            <a:xfrm>
              <a:off x="8569720" y="-90407"/>
              <a:ext cx="2194396" cy="244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b="1" dirty="0">
                  <a:cs typeface="Arial" pitchFamily="34" charset="0"/>
                </a:rPr>
                <a:t>Operators- NO DG approved</a:t>
              </a:r>
              <a:endParaRPr lang="ko-KR" altLang="en-US" b="1" dirty="0">
                <a:cs typeface="Arial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A9460E67-2C32-4475-939A-C29902F106D1}"/>
                </a:ext>
              </a:extLst>
            </p:cNvPr>
            <p:cNvSpPr txBox="1"/>
            <p:nvPr/>
          </p:nvSpPr>
          <p:spPr>
            <a:xfrm>
              <a:off x="8572262" y="242541"/>
              <a:ext cx="1981200" cy="2034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altLang="ko-KR" sz="1400" dirty="0">
                  <a:cs typeface="Arial" pitchFamily="34" charset="0"/>
                </a:rPr>
                <a:t>Non- DG approved</a:t>
              </a:r>
              <a:endParaRPr lang="ko-KR" altLang="en-US" sz="1400" dirty="0">
                <a:cs typeface="Arial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E03D2388-3B7B-47C4-A7D3-94DBEA3E4165}"/>
                </a:ext>
              </a:extLst>
            </p:cNvPr>
            <p:cNvSpPr txBox="1"/>
            <p:nvPr/>
          </p:nvSpPr>
          <p:spPr>
            <a:xfrm>
              <a:off x="11639882" y="-95020"/>
              <a:ext cx="2564971" cy="244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b="1" dirty="0">
                  <a:cs typeface="Arial" pitchFamily="34" charset="0"/>
                </a:rPr>
                <a:t>DG approved Operators</a:t>
              </a:r>
              <a:endParaRPr lang="ko-KR" altLang="en-US" b="1" dirty="0">
                <a:cs typeface="Arial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7C2B593A-9CD4-4BC7-8DB2-7391047E7C32}"/>
                </a:ext>
              </a:extLst>
            </p:cNvPr>
            <p:cNvSpPr txBox="1"/>
            <p:nvPr/>
          </p:nvSpPr>
          <p:spPr>
            <a:xfrm>
              <a:off x="11664763" y="183094"/>
              <a:ext cx="1981200" cy="4882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altLang="ko-KR" sz="1400" dirty="0">
                  <a:cs typeface="Arial" pitchFamily="34" charset="0"/>
                </a:rPr>
                <a:t>Any entities doing final acceptance of cargo/ dangerous goods before it is loaded onto an aircraft </a:t>
              </a:r>
              <a:endParaRPr lang="ko-KR" altLang="en-US" sz="1400" dirty="0">
                <a:cs typeface="Arial" pitchFamily="34" charset="0"/>
              </a:endParaRPr>
            </a:p>
          </p:txBody>
        </p:sp>
      </p:grpSp>
      <p:sp>
        <p:nvSpPr>
          <p:cNvPr id="66" name="Rectangle 8">
            <a:extLst>
              <a:ext uri="{FF2B5EF4-FFF2-40B4-BE49-F238E27FC236}">
                <a16:creationId xmlns:a16="http://schemas.microsoft.com/office/drawing/2014/main" id="{A1C1860F-DF2B-4418-AC25-F1B73A71E989}"/>
              </a:ext>
            </a:extLst>
          </p:cNvPr>
          <p:cNvSpPr/>
          <p:nvPr/>
        </p:nvSpPr>
        <p:spPr>
          <a:xfrm flipH="1">
            <a:off x="3392127" y="2733368"/>
            <a:ext cx="88491" cy="34117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grpSp>
        <p:nvGrpSpPr>
          <p:cNvPr id="67" name="Group 18">
            <a:extLst>
              <a:ext uri="{FF2B5EF4-FFF2-40B4-BE49-F238E27FC236}">
                <a16:creationId xmlns:a16="http://schemas.microsoft.com/office/drawing/2014/main" id="{A8B53980-8BEC-4B88-86EF-8C2435E032AD}"/>
              </a:ext>
            </a:extLst>
          </p:cNvPr>
          <p:cNvGrpSpPr/>
          <p:nvPr/>
        </p:nvGrpSpPr>
        <p:grpSpPr>
          <a:xfrm>
            <a:off x="3588743" y="2798865"/>
            <a:ext cx="3726453" cy="3042891"/>
            <a:chOff x="8881969" y="506479"/>
            <a:chExt cx="3345267" cy="2370037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2947B4A1-C486-4853-B4CC-27A88C369636}"/>
                </a:ext>
              </a:extLst>
            </p:cNvPr>
            <p:cNvSpPr txBox="1"/>
            <p:nvPr/>
          </p:nvSpPr>
          <p:spPr>
            <a:xfrm>
              <a:off x="8908448" y="506479"/>
              <a:ext cx="3283552" cy="229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2"/>
                  </a:solidFill>
                  <a:cs typeface="Arial" pitchFamily="34" charset="0"/>
                </a:rPr>
                <a:t>Application for CBTA approval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5C2150D6-5FCC-46B2-9CB3-2B1A10143D01}"/>
                </a:ext>
              </a:extLst>
            </p:cNvPr>
            <p:cNvSpPr txBox="1"/>
            <p:nvPr/>
          </p:nvSpPr>
          <p:spPr>
            <a:xfrm>
              <a:off x="8934928" y="827639"/>
              <a:ext cx="3283552" cy="5359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2"/>
                  </a:solidFill>
                  <a:cs typeface="Arial" pitchFamily="34" charset="0"/>
                </a:rPr>
                <a:t>Submit OM DG Section containing CBTA program</a:t>
              </a:r>
            </a:p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endParaRPr lang="en-US" altLang="ko-KR" sz="1600" dirty="0">
                <a:solidFill>
                  <a:schemeClr val="accent2"/>
                </a:solidFill>
                <a:cs typeface="Arial" pitchFamily="34" charset="0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98493345-CA20-4E3A-B4E9-D8333F4CA2AA}"/>
                </a:ext>
              </a:extLst>
            </p:cNvPr>
            <p:cNvSpPr txBox="1"/>
            <p:nvPr/>
          </p:nvSpPr>
          <p:spPr>
            <a:xfrm>
              <a:off x="8917274" y="1814093"/>
              <a:ext cx="3283552" cy="382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2"/>
                  </a:solidFill>
                  <a:cs typeface="Arial" pitchFamily="34" charset="0"/>
                </a:rPr>
                <a:t>Receives cargo with declaration that its not DG.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4950C678-E497-4791-8311-3F8ED06E68E8}"/>
                </a:ext>
              </a:extLst>
            </p:cNvPr>
            <p:cNvSpPr txBox="1"/>
            <p:nvPr/>
          </p:nvSpPr>
          <p:spPr>
            <a:xfrm>
              <a:off x="8934951" y="1531223"/>
              <a:ext cx="3283552" cy="229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2"/>
                  </a:solidFill>
                  <a:cs typeface="Arial" pitchFamily="34" charset="0"/>
                </a:rPr>
                <a:t>Does not handle dangerous goods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B95FC66-E04B-4F88-8660-382C618B0721}"/>
                </a:ext>
              </a:extLst>
            </p:cNvPr>
            <p:cNvSpPr txBox="1"/>
            <p:nvPr/>
          </p:nvSpPr>
          <p:spPr>
            <a:xfrm>
              <a:off x="8943684" y="1240696"/>
              <a:ext cx="3283552" cy="229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2"/>
                  </a:solidFill>
                  <a:cs typeface="Arial" pitchFamily="34" charset="0"/>
                </a:rPr>
                <a:t>CBTA Manual and assessments 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9D5003CD-AD7D-418C-A754-590B227FF95C}"/>
                </a:ext>
              </a:extLst>
            </p:cNvPr>
            <p:cNvSpPr txBox="1"/>
            <p:nvPr/>
          </p:nvSpPr>
          <p:spPr>
            <a:xfrm>
              <a:off x="8908448" y="2647384"/>
              <a:ext cx="3283552" cy="229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2"/>
                  </a:solidFill>
                  <a:cs typeface="Arial" pitchFamily="34" charset="0"/>
                </a:rPr>
                <a:t>Report incidents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6F5896EF-0A29-4D7D-AA73-0FBD834EDEDD}"/>
                </a:ext>
              </a:extLst>
            </p:cNvPr>
            <p:cNvSpPr txBox="1"/>
            <p:nvPr/>
          </p:nvSpPr>
          <p:spPr>
            <a:xfrm>
              <a:off x="8881969" y="2241985"/>
              <a:ext cx="3283552" cy="382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2"/>
                  </a:solidFill>
                  <a:cs typeface="Arial" pitchFamily="34" charset="0"/>
                </a:rPr>
                <a:t>Rejects or request rescreening in the absence of declaration</a:t>
              </a:r>
            </a:p>
          </p:txBody>
        </p:sp>
      </p:grpSp>
      <p:sp>
        <p:nvSpPr>
          <p:cNvPr id="4" name="Rectangle 8">
            <a:extLst>
              <a:ext uri="{FF2B5EF4-FFF2-40B4-BE49-F238E27FC236}">
                <a16:creationId xmlns:a16="http://schemas.microsoft.com/office/drawing/2014/main" id="{85E10B5A-5098-2234-08B7-B78F23B6C845}"/>
              </a:ext>
            </a:extLst>
          </p:cNvPr>
          <p:cNvSpPr/>
          <p:nvPr/>
        </p:nvSpPr>
        <p:spPr>
          <a:xfrm>
            <a:off x="7393829" y="2714260"/>
            <a:ext cx="68855" cy="34407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grpSp>
        <p:nvGrpSpPr>
          <p:cNvPr id="5" name="Group 18">
            <a:extLst>
              <a:ext uri="{FF2B5EF4-FFF2-40B4-BE49-F238E27FC236}">
                <a16:creationId xmlns:a16="http://schemas.microsoft.com/office/drawing/2014/main" id="{F576574C-2534-288B-21A8-2179F503E8CB}"/>
              </a:ext>
            </a:extLst>
          </p:cNvPr>
          <p:cNvGrpSpPr/>
          <p:nvPr/>
        </p:nvGrpSpPr>
        <p:grpSpPr>
          <a:xfrm>
            <a:off x="7691452" y="2626800"/>
            <a:ext cx="4107259" cy="3430192"/>
            <a:chOff x="8884288" y="506479"/>
            <a:chExt cx="3364085" cy="253041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0E261BF-4DEF-C183-9194-E12DCFAD199D}"/>
                </a:ext>
              </a:extLst>
            </p:cNvPr>
            <p:cNvSpPr txBox="1"/>
            <p:nvPr/>
          </p:nvSpPr>
          <p:spPr>
            <a:xfrm>
              <a:off x="8908448" y="506479"/>
              <a:ext cx="3283552" cy="2170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Application for DG approval  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47761DF-E76D-DDF4-31B9-36F59CF8E965}"/>
                </a:ext>
              </a:extLst>
            </p:cNvPr>
            <p:cNvSpPr txBox="1"/>
            <p:nvPr/>
          </p:nvSpPr>
          <p:spPr>
            <a:xfrm>
              <a:off x="8908448" y="827639"/>
              <a:ext cx="3283552" cy="2170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Submit OM DG Section with CBTA program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3112EDA-42C1-C3F7-5A72-40E700573451}"/>
                </a:ext>
              </a:extLst>
            </p:cNvPr>
            <p:cNvSpPr txBox="1"/>
            <p:nvPr/>
          </p:nvSpPr>
          <p:spPr>
            <a:xfrm>
              <a:off x="8908448" y="1682321"/>
              <a:ext cx="3283552" cy="4822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Ensure declaration for non-DG cargo is given to the operator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78E8081-9FB7-34A8-D417-804A5E90D510}"/>
                </a:ext>
              </a:extLst>
            </p:cNvPr>
            <p:cNvSpPr txBox="1"/>
            <p:nvPr/>
          </p:nvSpPr>
          <p:spPr>
            <a:xfrm>
              <a:off x="8884288" y="1402659"/>
              <a:ext cx="3283552" cy="2941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Five Phase Process will apply 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B7DDDD9-FF4E-E970-3FD6-AEC7E60244ED}"/>
                </a:ext>
              </a:extLst>
            </p:cNvPr>
            <p:cNvSpPr txBox="1"/>
            <p:nvPr/>
          </p:nvSpPr>
          <p:spPr>
            <a:xfrm>
              <a:off x="8916501" y="2076014"/>
              <a:ext cx="3283552" cy="362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Keeps all DG Documentation for DG shipments 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EC51942-BB3C-A6C0-4859-F9EA9B7FAB04}"/>
                </a:ext>
              </a:extLst>
            </p:cNvPr>
            <p:cNvSpPr txBox="1"/>
            <p:nvPr/>
          </p:nvSpPr>
          <p:spPr>
            <a:xfrm>
              <a:off x="8964821" y="2819876"/>
              <a:ext cx="3283552" cy="2170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Report incident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C34D94E-83B3-766E-3B70-5CCCB20BFAF9}"/>
                </a:ext>
              </a:extLst>
            </p:cNvPr>
            <p:cNvSpPr txBox="1"/>
            <p:nvPr/>
          </p:nvSpPr>
          <p:spPr>
            <a:xfrm>
              <a:off x="8932608" y="2469704"/>
              <a:ext cx="3283552" cy="362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Reject or request rescreening in the absence of declaration</a:t>
              </a:r>
            </a:p>
          </p:txBody>
        </p:sp>
      </p:grpSp>
      <p:pic>
        <p:nvPicPr>
          <p:cNvPr id="17" name="Picture 16" descr="A plane being loaded with cargo&#10;&#10;Description automatically generated with medium confidence">
            <a:extLst>
              <a:ext uri="{FF2B5EF4-FFF2-40B4-BE49-F238E27FC236}">
                <a16:creationId xmlns:a16="http://schemas.microsoft.com/office/drawing/2014/main" id="{3067B92C-0C90-98E9-83D2-97FEBB400F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5" y="4070554"/>
            <a:ext cx="3042668" cy="21073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Picture 18" descr="A large airplane with a lift&#10;&#10;Description automatically generated with medium confidence">
            <a:extLst>
              <a:ext uri="{FF2B5EF4-FFF2-40B4-BE49-F238E27FC236}">
                <a16:creationId xmlns:a16="http://schemas.microsoft.com/office/drawing/2014/main" id="{A999FD92-B174-5DD2-7F9A-7B3E008866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686" y="2282927"/>
            <a:ext cx="3076575" cy="14859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Picture 2" descr="dang ppt cont bot.png">
            <a:extLst>
              <a:ext uri="{FF2B5EF4-FFF2-40B4-BE49-F238E27FC236}">
                <a16:creationId xmlns:a16="http://schemas.microsoft.com/office/drawing/2014/main" id="{7A5372F8-2A63-7E20-102F-556E75781AD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4898"/>
            <a:ext cx="12192000" cy="69092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DF52FE2-9357-FCA2-76C2-0EC2528DCAEF}"/>
              </a:ext>
            </a:extLst>
          </p:cNvPr>
          <p:cNvSpPr txBox="1"/>
          <p:nvPr/>
        </p:nvSpPr>
        <p:spPr>
          <a:xfrm>
            <a:off x="7735697" y="3492605"/>
            <a:ext cx="4008935" cy="294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altLang="ko-KR" sz="1600" dirty="0">
                <a:cs typeface="Arial" pitchFamily="34" charset="0"/>
              </a:rPr>
              <a:t>CBTA Manual and assessmen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731278-5FCE-0A12-6A11-B71EAC2F7C2C}"/>
              </a:ext>
            </a:extLst>
          </p:cNvPr>
          <p:cNvSpPr txBox="1"/>
          <p:nvPr/>
        </p:nvSpPr>
        <p:spPr>
          <a:xfrm>
            <a:off x="2989007" y="1230332"/>
            <a:ext cx="24089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03</a:t>
            </a:r>
            <a:endParaRPr kumimoji="0" lang="ko-KR" alt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6F1F29C-C2A1-0402-1BF5-21CA37C34395}"/>
              </a:ext>
            </a:extLst>
          </p:cNvPr>
          <p:cNvSpPr txBox="1"/>
          <p:nvPr/>
        </p:nvSpPr>
        <p:spPr>
          <a:xfrm>
            <a:off x="7246374" y="1219198"/>
            <a:ext cx="20254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04</a:t>
            </a:r>
            <a:endParaRPr kumimoji="0" lang="ko-KR" alt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맑은 고딕" panose="020B0503020000020004" pitchFamily="34" charset="-127"/>
              <a:cs typeface="Arial" pitchFamily="34" charset="0"/>
            </a:endParaRPr>
          </a:p>
        </p:txBody>
      </p:sp>
      <p:pic>
        <p:nvPicPr>
          <p:cNvPr id="21" name="Picture 20" descr="dang ppt cont top 2.png">
            <a:extLst>
              <a:ext uri="{FF2B5EF4-FFF2-40B4-BE49-F238E27FC236}">
                <a16:creationId xmlns:a16="http://schemas.microsoft.com/office/drawing/2014/main" id="{A8042BAF-C67F-4174-D2E4-50D7EC07E05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8215" y="158993"/>
            <a:ext cx="990600" cy="1149096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38FE7A2-3D08-4711-2853-6037A9EC368C}"/>
              </a:ext>
            </a:extLst>
          </p:cNvPr>
          <p:cNvSpPr txBox="1"/>
          <p:nvPr/>
        </p:nvSpPr>
        <p:spPr>
          <a:xfrm>
            <a:off x="2418736" y="6273225"/>
            <a:ext cx="619432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Regulation 92.01. 47</a:t>
            </a: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A88C264-F55A-7FEA-1397-316ECA450F99}"/>
              </a:ext>
            </a:extLst>
          </p:cNvPr>
          <p:cNvSpPr txBox="1"/>
          <p:nvPr/>
        </p:nvSpPr>
        <p:spPr>
          <a:xfrm>
            <a:off x="319910" y="570861"/>
            <a:ext cx="182352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ko-KR" sz="2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Dangerous Goods 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ko-KR" sz="2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ir Cargo</a:t>
            </a:r>
            <a:endParaRPr kumimoji="0" lang="ko-KR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5384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BD63FFC1-A955-449F-93CC-0D87269EBFA0}"/>
              </a:ext>
            </a:extLst>
          </p:cNvPr>
          <p:cNvGrpSpPr/>
          <p:nvPr/>
        </p:nvGrpSpPr>
        <p:grpSpPr>
          <a:xfrm>
            <a:off x="431202" y="1541605"/>
            <a:ext cx="3132093" cy="4611001"/>
            <a:chOff x="4821684" y="2056925"/>
            <a:chExt cx="3476452" cy="384024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B39F4A7-1C95-4D10-817B-B0F0EAEA1003}"/>
                </a:ext>
              </a:extLst>
            </p:cNvPr>
            <p:cNvSpPr txBox="1"/>
            <p:nvPr/>
          </p:nvSpPr>
          <p:spPr>
            <a:xfrm>
              <a:off x="4821685" y="2993580"/>
              <a:ext cx="3271179" cy="4357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b="1" dirty="0">
                  <a:solidFill>
                    <a:prstClr val="black"/>
                  </a:solidFill>
                  <a:latin typeface="Arial"/>
                  <a:cs typeface="Calibri" pitchFamily="34" charset="0"/>
                </a:rPr>
                <a:t>DANGEROUS GOODS SUPPLY </a:t>
              </a:r>
              <a:r>
                <a:rPr lang="en-US" altLang="ko-KR" sz="1400" b="1">
                  <a:solidFill>
                    <a:prstClr val="black"/>
                  </a:solidFill>
                  <a:latin typeface="Arial"/>
                  <a:cs typeface="Calibri" pitchFamily="34" charset="0"/>
                </a:rPr>
                <a:t>CHAIN TASK </a:t>
              </a:r>
              <a:r>
                <a:rPr lang="en-US" altLang="ko-KR" sz="1400" b="1" dirty="0">
                  <a:solidFill>
                    <a:prstClr val="black"/>
                  </a:solidFill>
                  <a:latin typeface="Arial"/>
                  <a:cs typeface="Calibri" pitchFamily="34" charset="0"/>
                </a:rPr>
                <a:t>GROUP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Calibri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7BF4422-545C-4734-94A4-25BF9FCE708F}"/>
                </a:ext>
              </a:extLst>
            </p:cNvPr>
            <p:cNvSpPr txBox="1"/>
            <p:nvPr/>
          </p:nvSpPr>
          <p:spPr>
            <a:xfrm>
              <a:off x="4879641" y="3477512"/>
              <a:ext cx="3271179" cy="24196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 </a:t>
              </a:r>
              <a:endParaRPr kumimoji="0" lang="en-GB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An initiative by the Department of transport to have all modes of transport regulators involved with the transport of dangerous goods to work together: Rail, Road, Sea and Air.  </a:t>
              </a: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altLang="ko-KR" sz="1400" dirty="0">
                <a:solidFill>
                  <a:prstClr val="black"/>
                </a:solidFill>
                <a:latin typeface="Arial"/>
                <a:cs typeface="Arial" pitchFamily="34" charset="0"/>
              </a:endParaRP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Aim is to develop a South African standard, share expertise and discuss matters of common interest </a:t>
              </a: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1EA1314-AD95-4CEF-AC77-D7E39A90D71B}"/>
                </a:ext>
              </a:extLst>
            </p:cNvPr>
            <p:cNvSpPr txBox="1"/>
            <p:nvPr/>
          </p:nvSpPr>
          <p:spPr>
            <a:xfrm>
              <a:off x="5742947" y="2056925"/>
              <a:ext cx="2555189" cy="28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1600" b="1" i="0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DOMESTIC</a:t>
              </a:r>
              <a:endParaRPr kumimoji="0" lang="en-US" altLang="ko-KR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DC039E6-0099-477A-8E71-92F918DC85A9}"/>
                </a:ext>
              </a:extLst>
            </p:cNvPr>
            <p:cNvSpPr txBox="1"/>
            <p:nvPr/>
          </p:nvSpPr>
          <p:spPr>
            <a:xfrm>
              <a:off x="4821684" y="2083007"/>
              <a:ext cx="884230" cy="538293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Calibri" pitchFamily="34" charset="0"/>
                </a:rPr>
                <a:t>01</a:t>
              </a:r>
              <a:endParaRPr kumimoji="0" lang="ko-KR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Calibri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786B92F-6137-4EF9-B2F1-63F731D0E7BF}"/>
              </a:ext>
            </a:extLst>
          </p:cNvPr>
          <p:cNvGrpSpPr/>
          <p:nvPr/>
        </p:nvGrpSpPr>
        <p:grpSpPr>
          <a:xfrm>
            <a:off x="6985363" y="1489384"/>
            <a:ext cx="4020316" cy="2585947"/>
            <a:chOff x="4652715" y="2016876"/>
            <a:chExt cx="3479914" cy="2536537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26B3C2F-6971-4B9F-BB91-EAB269AAF0B6}"/>
                </a:ext>
              </a:extLst>
            </p:cNvPr>
            <p:cNvSpPr txBox="1"/>
            <p:nvPr/>
          </p:nvSpPr>
          <p:spPr>
            <a:xfrm>
              <a:off x="4652715" y="3200195"/>
              <a:ext cx="3271179" cy="3018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Calibri" pitchFamily="34" charset="0"/>
                </a:rPr>
                <a:t>ICAO PANEL 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Calibri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3C1009A-BDB1-459E-8298-BF4896583089}"/>
                </a:ext>
              </a:extLst>
            </p:cNvPr>
            <p:cNvSpPr txBox="1"/>
            <p:nvPr/>
          </p:nvSpPr>
          <p:spPr>
            <a:xfrm>
              <a:off x="4690217" y="3919432"/>
              <a:ext cx="3442406" cy="633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lang="en-GB" altLang="ko-KR" sz="1200" dirty="0">
                  <a:solidFill>
                    <a:prstClr val="black"/>
                  </a:solidFill>
                  <a:latin typeface="Arial"/>
                  <a:cs typeface="Arial" pitchFamily="34" charset="0"/>
                </a:rPr>
                <a:t>Member of workgroup dealing with the Technical Instructions supplement </a:t>
              </a: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GB" altLang="ko-KR" sz="1200" dirty="0">
                  <a:solidFill>
                    <a:prstClr val="black"/>
                  </a:solidFill>
                  <a:latin typeface="Arial"/>
                  <a:cs typeface="Arial" pitchFamily="34" charset="0"/>
                </a:rPr>
                <a:t>2.  Member of the dangerous goods RPAS workgroup</a:t>
              </a:r>
              <a:endParaRPr kumimoji="0" lang="en-GB" altLang="ko-K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CC1EC1D-FAA3-4E12-815B-042A15FFAB9C}"/>
                </a:ext>
              </a:extLst>
            </p:cNvPr>
            <p:cNvSpPr txBox="1"/>
            <p:nvPr/>
          </p:nvSpPr>
          <p:spPr>
            <a:xfrm>
              <a:off x="5577440" y="2016876"/>
              <a:ext cx="2555189" cy="3320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INTERNATIONAL 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CAA26CD-56EB-4F6A-B25F-EBA0B338183C}"/>
                </a:ext>
              </a:extLst>
            </p:cNvPr>
            <p:cNvSpPr txBox="1"/>
            <p:nvPr/>
          </p:nvSpPr>
          <p:spPr>
            <a:xfrm>
              <a:off x="4717386" y="2073987"/>
              <a:ext cx="665347" cy="63398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Calibri" pitchFamily="34" charset="0"/>
                </a:rPr>
                <a:t>03</a:t>
              </a:r>
              <a:endParaRPr kumimoji="0" lang="ko-KR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Calibri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977E921-C96F-CD5A-ABD7-4299B36AA9F2}"/>
              </a:ext>
            </a:extLst>
          </p:cNvPr>
          <p:cNvGrpSpPr/>
          <p:nvPr/>
        </p:nvGrpSpPr>
        <p:grpSpPr>
          <a:xfrm>
            <a:off x="3639498" y="1546651"/>
            <a:ext cx="3280489" cy="2915484"/>
            <a:chOff x="4783972" y="2044783"/>
            <a:chExt cx="3411271" cy="2886754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F51B9C3-CB09-EE34-F6D6-49813928673A}"/>
                </a:ext>
              </a:extLst>
            </p:cNvPr>
            <p:cNvSpPr txBox="1"/>
            <p:nvPr/>
          </p:nvSpPr>
          <p:spPr>
            <a:xfrm>
              <a:off x="4844938" y="3173644"/>
              <a:ext cx="327117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Calibri" pitchFamily="34" charset="0"/>
                </a:rPr>
                <a:t>DANGEROUS GOODS AFRICA FORUM 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Calibri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8D42568-B41B-1B9F-055F-77862AB549BD}"/>
                </a:ext>
              </a:extLst>
            </p:cNvPr>
            <p:cNvSpPr txBox="1"/>
            <p:nvPr/>
          </p:nvSpPr>
          <p:spPr>
            <a:xfrm>
              <a:off x="4783972" y="3925883"/>
              <a:ext cx="3278877" cy="10056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ko-KR" sz="1200" dirty="0">
                  <a:solidFill>
                    <a:prstClr val="black"/>
                  </a:solidFill>
                  <a:latin typeface="Arial"/>
                  <a:cs typeface="Arial" pitchFamily="34" charset="0"/>
                </a:rPr>
                <a:t>An initiative by the SACAA DG Section to coordinate efforts with other CAAs/Authorities in the African Continent. This is done to ensure alignment with the Single African Air Transport Market (SAATM) </a:t>
              </a:r>
              <a:endParaRPr kumimoji="0" lang="en-GB" altLang="ko-K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DA93FE3-62B4-EC16-316A-71ECE153C224}"/>
                </a:ext>
              </a:extLst>
            </p:cNvPr>
            <p:cNvSpPr txBox="1"/>
            <p:nvPr/>
          </p:nvSpPr>
          <p:spPr>
            <a:xfrm>
              <a:off x="5640054" y="2044783"/>
              <a:ext cx="255518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REGIONAL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80C9933-CBDD-FCF2-29BE-FD0590290EC4}"/>
                </a:ext>
              </a:extLst>
            </p:cNvPr>
            <p:cNvSpPr txBox="1"/>
            <p:nvPr/>
          </p:nvSpPr>
          <p:spPr>
            <a:xfrm>
              <a:off x="4821685" y="2083006"/>
              <a:ext cx="818369" cy="639962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Calibri" pitchFamily="34" charset="0"/>
                </a:rPr>
                <a:t>02</a:t>
              </a:r>
              <a:endParaRPr kumimoji="0" lang="ko-KR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Calibri" pitchFamily="34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2042E880-50BE-ECBA-F473-11D86B62DAA7}"/>
              </a:ext>
            </a:extLst>
          </p:cNvPr>
          <p:cNvSpPr txBox="1"/>
          <p:nvPr/>
        </p:nvSpPr>
        <p:spPr>
          <a:xfrm>
            <a:off x="328749" y="474491"/>
            <a:ext cx="11534502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맑은 고딕"/>
                <a:cs typeface="Arial" pitchFamily="34" charset="0"/>
              </a:rPr>
              <a:t>Collaborative wor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6DBB2-87D9-CC60-FB34-8FF6160C9C1C}"/>
              </a:ext>
            </a:extLst>
          </p:cNvPr>
          <p:cNvSpPr txBox="1"/>
          <p:nvPr/>
        </p:nvSpPr>
        <p:spPr>
          <a:xfrm>
            <a:off x="7060076" y="4497040"/>
            <a:ext cx="43669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b="1" dirty="0">
                <a:solidFill>
                  <a:prstClr val="black"/>
                </a:solidFill>
                <a:latin typeface="Arial"/>
                <a:cs typeface="Calibri" pitchFamily="34" charset="0"/>
              </a:rPr>
              <a:t>LOCAL 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Calibri" pitchFamily="34" charset="0"/>
              </a:rPr>
              <a:t> 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Calibri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8859F8-DB9B-F238-FD91-D69B2D7F3DD9}"/>
              </a:ext>
            </a:extLst>
          </p:cNvPr>
          <p:cNvSpPr txBox="1"/>
          <p:nvPr/>
        </p:nvSpPr>
        <p:spPr>
          <a:xfrm>
            <a:off x="7060076" y="4937729"/>
            <a:ext cx="346565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altLang="ko-KR" sz="14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D</a:t>
            </a:r>
            <a:r>
              <a:rPr kumimoji="0" lang="en-GB" altLang="ko-K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pitchFamily="34" charset="0"/>
              </a:rPr>
              <a:t>angerous</a:t>
            </a:r>
            <a:r>
              <a:rPr kumimoji="0" lang="en-GB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pitchFamily="34" charset="0"/>
              </a:rPr>
              <a:t> goods working group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altLang="ko-KR" sz="1200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altLang="ko-KR" sz="1200" dirty="0">
                <a:solidFill>
                  <a:prstClr val="black"/>
                </a:solidFill>
                <a:latin typeface="Arial"/>
                <a:cs typeface="Arial" pitchFamily="34" charset="0"/>
              </a:rPr>
              <a:t>D</a:t>
            </a:r>
            <a:r>
              <a:rPr kumimoji="0" lang="en-GB" altLang="ko-KR" sz="12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pitchFamily="34" charset="0"/>
              </a:rPr>
              <a:t>iscussing</a:t>
            </a:r>
            <a:r>
              <a:rPr kumimoji="0" lang="en-GB" altLang="ko-K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pitchFamily="34" charset="0"/>
              </a:rPr>
              <a:t> papers before going to panel meetings and sharing feedback upon retur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25FF770-7947-0C4F-7EFF-24249866A7CD}"/>
              </a:ext>
            </a:extLst>
          </p:cNvPr>
          <p:cNvCxnSpPr>
            <a:cxnSpLocks/>
          </p:cNvCxnSpPr>
          <p:nvPr/>
        </p:nvCxnSpPr>
        <p:spPr>
          <a:xfrm>
            <a:off x="3550632" y="1489384"/>
            <a:ext cx="3368" cy="4663222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6FF36A1-58F9-94EC-46B6-06EB0FDD84A0}"/>
              </a:ext>
            </a:extLst>
          </p:cNvPr>
          <p:cNvCxnSpPr>
            <a:cxnSpLocks/>
          </p:cNvCxnSpPr>
          <p:nvPr/>
        </p:nvCxnSpPr>
        <p:spPr>
          <a:xfrm>
            <a:off x="6910679" y="1489384"/>
            <a:ext cx="0" cy="4663222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191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4">
            <a:extLst>
              <a:ext uri="{FF2B5EF4-FFF2-40B4-BE49-F238E27FC236}">
                <a16:creationId xmlns:a16="http://schemas.microsoft.com/office/drawing/2014/main" id="{C335EEBE-FAA0-66B7-8B28-9242EA6E37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6" t="17203" r="23164" b="14372"/>
          <a:stretch>
            <a:fillRect/>
          </a:stretch>
        </p:blipFill>
        <p:spPr bwMode="auto">
          <a:xfrm>
            <a:off x="382533" y="339725"/>
            <a:ext cx="11579225" cy="6030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19DBA584-CD39-10C4-2E54-421D935446E1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 bwMode="auto">
          <a:xfrm>
            <a:off x="619125" y="339725"/>
            <a:ext cx="11572875" cy="723900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Applicability</a:t>
            </a: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937405E2-11C1-A9B8-27B7-AA680B9284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1600" y="1905000"/>
            <a:ext cx="8229600" cy="3919538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eaLnBrk="1" hangingPunct="1">
              <a:buClr>
                <a:srgbClr val="E3E3FF"/>
              </a:buClr>
              <a:buFontTx/>
              <a:buNone/>
              <a:defRPr/>
            </a:pPr>
            <a:endParaRPr lang="en-AU" sz="5400" b="1" kern="0" dirty="0">
              <a:solidFill>
                <a:srgbClr val="FFFFFF"/>
              </a:solidFill>
              <a:latin typeface="Arial"/>
              <a:cs typeface="Arial"/>
            </a:endParaRPr>
          </a:p>
          <a:p>
            <a:pPr algn="ctr" eaLnBrk="1" hangingPunct="1">
              <a:buClr>
                <a:srgbClr val="E3E3FF"/>
              </a:buClr>
              <a:buFontTx/>
              <a:buNone/>
              <a:defRPr/>
            </a:pPr>
            <a:r>
              <a:rPr lang="en-AU" sz="5400" b="1" kern="0" dirty="0">
                <a:solidFill>
                  <a:srgbClr val="FFFFFF"/>
                </a:solidFill>
                <a:latin typeface="Arial"/>
                <a:cs typeface="Arial"/>
              </a:rPr>
              <a:t>QUESTIONS? ? ?</a:t>
            </a:r>
          </a:p>
        </p:txBody>
      </p:sp>
      <p:pic>
        <p:nvPicPr>
          <p:cNvPr id="36867" name="Picture 4">
            <a:extLst>
              <a:ext uri="{FF2B5EF4-FFF2-40B4-BE49-F238E27FC236}">
                <a16:creationId xmlns:a16="http://schemas.microsoft.com/office/drawing/2014/main" id="{349FB372-9FAC-E6B7-20EC-64BB69BFC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0" y="6008688"/>
            <a:ext cx="638175" cy="73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A large passenger jet flying through a cloudy sky&#10;&#10;Description automatically generated">
            <a:extLst>
              <a:ext uri="{FF2B5EF4-FFF2-40B4-BE49-F238E27FC236}">
                <a16:creationId xmlns:a16="http://schemas.microsoft.com/office/drawing/2014/main" id="{FFDF46D9-7219-D292-C544-AF30F17C26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76200"/>
            <a:ext cx="12304713" cy="6921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Rectangle 4">
            <a:extLst>
              <a:ext uri="{FF2B5EF4-FFF2-40B4-BE49-F238E27FC236}">
                <a16:creationId xmlns:a16="http://schemas.microsoft.com/office/drawing/2014/main" id="{6B6B731A-A690-43D5-BAF4-59D9BC011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3948" y="194546"/>
            <a:ext cx="8229600" cy="391953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eaLnBrk="1" hangingPunct="1">
              <a:buClr>
                <a:srgbClr val="E3E3FF"/>
              </a:buClr>
              <a:buFontTx/>
              <a:buNone/>
              <a:defRPr/>
            </a:pPr>
            <a:endParaRPr lang="en-AU" sz="5400" b="1" kern="0" dirty="0">
              <a:solidFill>
                <a:srgbClr val="FFFFFF"/>
              </a:solidFill>
              <a:latin typeface="Arial"/>
              <a:cs typeface="Arial"/>
            </a:endParaRPr>
          </a:p>
          <a:p>
            <a:pPr algn="ctr" eaLnBrk="1" hangingPunct="1">
              <a:buClr>
                <a:srgbClr val="E3E3FF"/>
              </a:buClr>
              <a:buFontTx/>
              <a:buNone/>
              <a:defRPr/>
            </a:pPr>
            <a:r>
              <a:rPr lang="en-AU" sz="5400" b="1" kern="0" dirty="0">
                <a:solidFill>
                  <a:srgbClr val="FFFFFF"/>
                </a:solidFill>
                <a:latin typeface="Arial"/>
                <a:cs typeface="Arial"/>
              </a:rPr>
              <a:t>QUESTIONS?</a:t>
            </a:r>
          </a:p>
        </p:txBody>
      </p:sp>
      <p:pic>
        <p:nvPicPr>
          <p:cNvPr id="9" name="Picture 2" descr="Selective Focus Photo of Airplane Window">
            <a:extLst>
              <a:ext uri="{FF2B5EF4-FFF2-40B4-BE49-F238E27FC236}">
                <a16:creationId xmlns:a16="http://schemas.microsoft.com/office/drawing/2014/main" id="{CDEBD84D-BE8D-25E5-A989-55D1507C6D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 t="13359" b="13359"/>
          <a:stretch>
            <a:fillRect/>
          </a:stretch>
        </p:blipFill>
        <p:spPr bwMode="auto">
          <a:xfrm>
            <a:off x="7237147" y="266700"/>
            <a:ext cx="5337705" cy="5867400"/>
          </a:xfrm>
          <a:prstGeom prst="rect">
            <a:avLst/>
          </a:prstGeom>
          <a:noFill/>
          <a:effectLst>
            <a:softEdge rad="635000"/>
          </a:effectLst>
        </p:spPr>
      </p:pic>
      <p:pic>
        <p:nvPicPr>
          <p:cNvPr id="3" name="Picture 2" descr="A note with a red pin on it&#10;&#10;Description automatically generated">
            <a:extLst>
              <a:ext uri="{FF2B5EF4-FFF2-40B4-BE49-F238E27FC236}">
                <a16:creationId xmlns:a16="http://schemas.microsoft.com/office/drawing/2014/main" id="{AB294B29-9A86-45F1-8526-C29A379779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-243348" y="2830697"/>
            <a:ext cx="4150096" cy="415009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3250">
        <p15:prstTrans prst="origami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>
            <a:extLst>
              <a:ext uri="{FF2B5EF4-FFF2-40B4-BE49-F238E27FC236}">
                <a16:creationId xmlns:a16="http://schemas.microsoft.com/office/drawing/2014/main" id="{D3F177EA-9F87-C0C6-F023-1B5952B3389C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0" y="292100"/>
            <a:ext cx="10972800" cy="70643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itchFamily="34" charset="0"/>
              </a:rPr>
              <a:t>Applicability</a:t>
            </a: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 </a:t>
            </a:r>
          </a:p>
        </p:txBody>
      </p:sp>
      <p:sp>
        <p:nvSpPr>
          <p:cNvPr id="63" name="Pentagon 33">
            <a:extLst>
              <a:ext uri="{FF2B5EF4-FFF2-40B4-BE49-F238E27FC236}">
                <a16:creationId xmlns:a16="http://schemas.microsoft.com/office/drawing/2014/main" id="{57D258AE-3433-8997-696B-F09F174FD533}"/>
              </a:ext>
            </a:extLst>
          </p:cNvPr>
          <p:cNvSpPr/>
          <p:nvPr/>
        </p:nvSpPr>
        <p:spPr bwMode="auto">
          <a:xfrm>
            <a:off x="4862513" y="3908425"/>
            <a:ext cx="900112" cy="90011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sz="1400" b="1" kern="0" dirty="0">
              <a:solidFill>
                <a:prstClr val="white"/>
              </a:solidFill>
            </a:endParaRPr>
          </a:p>
        </p:txBody>
      </p:sp>
      <p:sp>
        <p:nvSpPr>
          <p:cNvPr id="68" name="Pentagon 19">
            <a:extLst>
              <a:ext uri="{FF2B5EF4-FFF2-40B4-BE49-F238E27FC236}">
                <a16:creationId xmlns:a16="http://schemas.microsoft.com/office/drawing/2014/main" id="{F00F84F0-CB31-35CC-CA15-8B73B56693BC}"/>
              </a:ext>
            </a:extLst>
          </p:cNvPr>
          <p:cNvSpPr/>
          <p:nvPr/>
        </p:nvSpPr>
        <p:spPr bwMode="auto">
          <a:xfrm>
            <a:off x="4860925" y="2676525"/>
            <a:ext cx="900113" cy="90011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sz="1400" b="1" kern="0" dirty="0">
              <a:solidFill>
                <a:prstClr val="white"/>
              </a:solidFill>
            </a:endParaRPr>
          </a:p>
        </p:txBody>
      </p:sp>
      <p:sp>
        <p:nvSpPr>
          <p:cNvPr id="80" name="Pentagon 26">
            <a:extLst>
              <a:ext uri="{FF2B5EF4-FFF2-40B4-BE49-F238E27FC236}">
                <a16:creationId xmlns:a16="http://schemas.microsoft.com/office/drawing/2014/main" id="{4CDE422F-9ED2-745D-0D22-2CAA0918DDCE}"/>
              </a:ext>
            </a:extLst>
          </p:cNvPr>
          <p:cNvSpPr/>
          <p:nvPr/>
        </p:nvSpPr>
        <p:spPr bwMode="auto">
          <a:xfrm>
            <a:off x="4862513" y="1549400"/>
            <a:ext cx="900112" cy="90011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sz="1400" b="1" kern="0" dirty="0">
              <a:solidFill>
                <a:prstClr val="white"/>
              </a:solidFill>
            </a:endParaRPr>
          </a:p>
        </p:txBody>
      </p:sp>
      <p:sp>
        <p:nvSpPr>
          <p:cNvPr id="83" name="Pentagon 47">
            <a:extLst>
              <a:ext uri="{FF2B5EF4-FFF2-40B4-BE49-F238E27FC236}">
                <a16:creationId xmlns:a16="http://schemas.microsoft.com/office/drawing/2014/main" id="{17DB5D68-6C96-3435-7023-B89456151B64}"/>
              </a:ext>
            </a:extLst>
          </p:cNvPr>
          <p:cNvSpPr/>
          <p:nvPr/>
        </p:nvSpPr>
        <p:spPr bwMode="auto">
          <a:xfrm>
            <a:off x="4862513" y="5087938"/>
            <a:ext cx="900112" cy="9001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sz="1400" b="1" kern="0" dirty="0">
              <a:solidFill>
                <a:prstClr val="white"/>
              </a:solidFill>
            </a:endParaRPr>
          </a:p>
        </p:txBody>
      </p:sp>
      <p:sp>
        <p:nvSpPr>
          <p:cNvPr id="22" name="Pentagon 33">
            <a:extLst>
              <a:ext uri="{FF2B5EF4-FFF2-40B4-BE49-F238E27FC236}">
                <a16:creationId xmlns:a16="http://schemas.microsoft.com/office/drawing/2014/main" id="{FAF43372-DCC7-9910-25DE-F9934E4265C9}"/>
              </a:ext>
            </a:extLst>
          </p:cNvPr>
          <p:cNvSpPr/>
          <p:nvPr/>
        </p:nvSpPr>
        <p:spPr bwMode="auto">
          <a:xfrm>
            <a:off x="6429375" y="2728913"/>
            <a:ext cx="900113" cy="90011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sz="1400" b="1" kern="0" dirty="0">
              <a:solidFill>
                <a:prstClr val="white"/>
              </a:solidFill>
            </a:endParaRPr>
          </a:p>
        </p:txBody>
      </p:sp>
      <p:sp>
        <p:nvSpPr>
          <p:cNvPr id="23" name="Pentagon 19">
            <a:extLst>
              <a:ext uri="{FF2B5EF4-FFF2-40B4-BE49-F238E27FC236}">
                <a16:creationId xmlns:a16="http://schemas.microsoft.com/office/drawing/2014/main" id="{1CF61E2B-01D8-3407-088C-EF6D0B10A37E}"/>
              </a:ext>
            </a:extLst>
          </p:cNvPr>
          <p:cNvSpPr/>
          <p:nvPr/>
        </p:nvSpPr>
        <p:spPr bwMode="auto">
          <a:xfrm>
            <a:off x="6429375" y="3908425"/>
            <a:ext cx="900113" cy="90011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sz="1400" b="1" kern="0" dirty="0">
              <a:solidFill>
                <a:prstClr val="white"/>
              </a:solidFill>
            </a:endParaRPr>
          </a:p>
        </p:txBody>
      </p:sp>
      <p:sp>
        <p:nvSpPr>
          <p:cNvPr id="24" name="Pentagon 26">
            <a:extLst>
              <a:ext uri="{FF2B5EF4-FFF2-40B4-BE49-F238E27FC236}">
                <a16:creationId xmlns:a16="http://schemas.microsoft.com/office/drawing/2014/main" id="{4559348C-7878-6D4E-1D9F-7B30BA9CD609}"/>
              </a:ext>
            </a:extLst>
          </p:cNvPr>
          <p:cNvSpPr/>
          <p:nvPr/>
        </p:nvSpPr>
        <p:spPr bwMode="auto">
          <a:xfrm>
            <a:off x="6429375" y="5087938"/>
            <a:ext cx="900113" cy="900112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sz="1400" b="1" kern="0" dirty="0">
              <a:solidFill>
                <a:prstClr val="white"/>
              </a:solidFill>
            </a:endParaRPr>
          </a:p>
        </p:txBody>
      </p:sp>
      <p:sp>
        <p:nvSpPr>
          <p:cNvPr id="25" name="Pentagon 4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F6E3CAC-3457-CC93-AA4F-2DBDA08FAC94}"/>
              </a:ext>
            </a:extLst>
          </p:cNvPr>
          <p:cNvSpPr/>
          <p:nvPr/>
        </p:nvSpPr>
        <p:spPr bwMode="auto">
          <a:xfrm>
            <a:off x="6429375" y="1549400"/>
            <a:ext cx="900113" cy="900113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sz="1400" b="1" kern="0" dirty="0">
              <a:solidFill>
                <a:prstClr val="white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1D703DA-5411-B6D0-A2CE-ECA9EE825573}"/>
              </a:ext>
            </a:extLst>
          </p:cNvPr>
          <p:cNvSpPr/>
          <p:nvPr/>
        </p:nvSpPr>
        <p:spPr bwMode="auto">
          <a:xfrm>
            <a:off x="7412038" y="1549400"/>
            <a:ext cx="4170362" cy="903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anchor="ctr"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b="1" kern="0" dirty="0">
                <a:solidFill>
                  <a:srgbClr val="000000"/>
                </a:solidFill>
                <a:cs typeface="Arial" pitchFamily="34" charset="0"/>
              </a:rPr>
              <a:t>Training Organisations</a:t>
            </a:r>
          </a:p>
          <a:p>
            <a:pPr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kern="0" dirty="0">
                <a:solidFill>
                  <a:srgbClr val="000000"/>
                </a:solidFill>
                <a:cs typeface="Arial" pitchFamily="34" charset="0"/>
              </a:rPr>
              <a:t>Aviation training organisations offering dangerous goods training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B98B1BF-13E0-1A1C-8AE4-13A2A0183F1B}"/>
              </a:ext>
            </a:extLst>
          </p:cNvPr>
          <p:cNvSpPr/>
          <p:nvPr/>
        </p:nvSpPr>
        <p:spPr bwMode="auto">
          <a:xfrm>
            <a:off x="7412038" y="2727325"/>
            <a:ext cx="4170362" cy="90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anchor="ctr"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b="1" kern="0" dirty="0">
                <a:solidFill>
                  <a:srgbClr val="000000"/>
                </a:solidFill>
                <a:cs typeface="Arial" pitchFamily="34" charset="0"/>
              </a:rPr>
              <a:t>Packers</a:t>
            </a:r>
          </a:p>
          <a:p>
            <a:pPr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kern="0" dirty="0">
                <a:solidFill>
                  <a:srgbClr val="000000"/>
                </a:solidFill>
                <a:cs typeface="Arial" pitchFamily="34" charset="0"/>
              </a:rPr>
              <a:t>Packers of Dangerous goods for Air transport</a:t>
            </a:r>
            <a:r>
              <a:rPr lang="en-ZA" sz="1600" kern="0" dirty="0">
                <a:solidFill>
                  <a:srgbClr val="000000"/>
                </a:solidFill>
                <a:cs typeface="Arial" pitchFamily="34" charset="0"/>
              </a:rPr>
              <a:t>.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9D97A5E-ED51-333A-470C-CB8674278B55}"/>
              </a:ext>
            </a:extLst>
          </p:cNvPr>
          <p:cNvSpPr/>
          <p:nvPr/>
        </p:nvSpPr>
        <p:spPr bwMode="auto">
          <a:xfrm>
            <a:off x="7412038" y="3903663"/>
            <a:ext cx="4170362" cy="903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anchor="ctr"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b="1" kern="0" dirty="0">
                <a:solidFill>
                  <a:srgbClr val="000000"/>
                </a:solidFill>
                <a:cs typeface="Arial" pitchFamily="34" charset="0"/>
              </a:rPr>
              <a:t>Package Testing Organisations</a:t>
            </a:r>
          </a:p>
          <a:p>
            <a:pPr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kern="0" dirty="0">
                <a:solidFill>
                  <a:srgbClr val="000000"/>
                </a:solidFill>
                <a:cs typeface="Arial" pitchFamily="34" charset="0"/>
              </a:rPr>
              <a:t>Testing organisations for air transport packages.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42F1964-C835-8365-C5CD-CFB6D768269F}"/>
              </a:ext>
            </a:extLst>
          </p:cNvPr>
          <p:cNvSpPr/>
          <p:nvPr/>
        </p:nvSpPr>
        <p:spPr bwMode="auto">
          <a:xfrm>
            <a:off x="7412038" y="5080000"/>
            <a:ext cx="4170362" cy="903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anchor="ctr"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b="1" kern="0" dirty="0">
                <a:solidFill>
                  <a:srgbClr val="000000"/>
                </a:solidFill>
                <a:cs typeface="Arial" pitchFamily="34" charset="0"/>
              </a:rPr>
              <a:t>Couriers</a:t>
            </a:r>
          </a:p>
          <a:p>
            <a:pPr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kern="0" dirty="0">
                <a:solidFill>
                  <a:srgbClr val="000000"/>
                </a:solidFill>
                <a:cs typeface="Arial" pitchFamily="34" charset="0"/>
              </a:rPr>
              <a:t>All courier with parcels or cargo for</a:t>
            </a:r>
          </a:p>
          <a:p>
            <a:pPr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kern="0" dirty="0">
                <a:solidFill>
                  <a:srgbClr val="000000"/>
                </a:solidFill>
                <a:cs typeface="Arial" pitchFamily="34" charset="0"/>
              </a:rPr>
              <a:t> air transport</a:t>
            </a:r>
            <a:endParaRPr lang="en-ZA" sz="1600" kern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0CB51AA-91E1-8244-9540-6A10458F56A7}"/>
              </a:ext>
            </a:extLst>
          </p:cNvPr>
          <p:cNvSpPr/>
          <p:nvPr/>
        </p:nvSpPr>
        <p:spPr bwMode="auto">
          <a:xfrm>
            <a:off x="566738" y="1546225"/>
            <a:ext cx="4170362" cy="903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anchor="ctr"/>
          <a:lstStyle/>
          <a:p>
            <a:pPr algn="r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b="1" kern="0" dirty="0">
                <a:solidFill>
                  <a:srgbClr val="000000"/>
                </a:solidFill>
                <a:cs typeface="Arial" pitchFamily="34" charset="0"/>
              </a:rPr>
              <a:t>Operators/Airlines</a:t>
            </a:r>
          </a:p>
          <a:p>
            <a:pPr algn="r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kern="0" dirty="0">
                <a:solidFill>
                  <a:srgbClr val="000000"/>
                </a:solidFill>
                <a:cs typeface="Arial" pitchFamily="34" charset="0"/>
              </a:rPr>
              <a:t>Commercial aircraft operators: Fixed wing, helicopters, Drone operations, balloon operations .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DD95803-62B5-B17B-4991-D459FEA3861D}"/>
              </a:ext>
            </a:extLst>
          </p:cNvPr>
          <p:cNvSpPr/>
          <p:nvPr/>
        </p:nvSpPr>
        <p:spPr bwMode="auto">
          <a:xfrm>
            <a:off x="566738" y="2724150"/>
            <a:ext cx="4170362" cy="90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anchor="ctr"/>
          <a:lstStyle/>
          <a:p>
            <a:pPr algn="r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b="1" kern="0" dirty="0">
                <a:solidFill>
                  <a:srgbClr val="000000"/>
                </a:solidFill>
                <a:cs typeface="Arial" pitchFamily="34" charset="0"/>
              </a:rPr>
              <a:t>Airports</a:t>
            </a:r>
          </a:p>
          <a:p>
            <a:pPr algn="r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kern="0" dirty="0">
                <a:solidFill>
                  <a:srgbClr val="000000"/>
                </a:solidFill>
                <a:cs typeface="Arial" pitchFamily="34" charset="0"/>
              </a:rPr>
              <a:t>International and domestic serving airports</a:t>
            </a:r>
          </a:p>
          <a:p>
            <a:pPr algn="r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kern="0" dirty="0">
                <a:solidFill>
                  <a:srgbClr val="000000"/>
                </a:solidFill>
                <a:cs typeface="Arial" pitchFamily="34" charset="0"/>
              </a:rPr>
              <a:t>Cargo, Mail, baggage and passenger movements </a:t>
            </a:r>
            <a:endParaRPr lang="en-ZA" sz="1600" kern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9B42F0A-C27E-C703-4FA0-F76756C30A85}"/>
              </a:ext>
            </a:extLst>
          </p:cNvPr>
          <p:cNvSpPr/>
          <p:nvPr/>
        </p:nvSpPr>
        <p:spPr bwMode="auto">
          <a:xfrm>
            <a:off x="566738" y="3900488"/>
            <a:ext cx="4170362" cy="903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anchor="ctr"/>
          <a:lstStyle/>
          <a:p>
            <a:pPr algn="r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b="1" kern="0" dirty="0">
                <a:solidFill>
                  <a:srgbClr val="000000"/>
                </a:solidFill>
                <a:cs typeface="Arial" pitchFamily="34" charset="0"/>
              </a:rPr>
              <a:t>Cargo/Shippers/Freight Forwarders</a:t>
            </a:r>
          </a:p>
          <a:p>
            <a:pPr algn="r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kern="0" dirty="0">
                <a:solidFill>
                  <a:srgbClr val="000000"/>
                </a:solidFill>
                <a:cs typeface="Arial" pitchFamily="34" charset="0"/>
              </a:rPr>
              <a:t>Cargo entities and facilities both at Airport and off the airport.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7B9F6E3-50BA-0B6F-6196-4F278836C29E}"/>
              </a:ext>
            </a:extLst>
          </p:cNvPr>
          <p:cNvSpPr/>
          <p:nvPr/>
        </p:nvSpPr>
        <p:spPr bwMode="auto">
          <a:xfrm>
            <a:off x="566738" y="5078413"/>
            <a:ext cx="4170362" cy="90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anchor="ctr"/>
          <a:lstStyle/>
          <a:p>
            <a:pPr algn="r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b="1" kern="0" dirty="0">
                <a:solidFill>
                  <a:srgbClr val="000000"/>
                </a:solidFill>
                <a:cs typeface="Arial" pitchFamily="34" charset="0"/>
              </a:rPr>
              <a:t>Post Office</a:t>
            </a:r>
          </a:p>
          <a:p>
            <a:pPr algn="r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ZA" kern="0" dirty="0">
                <a:solidFill>
                  <a:srgbClr val="000000"/>
                </a:solidFill>
                <a:cs typeface="Arial" pitchFamily="34" charset="0"/>
              </a:rPr>
              <a:t>Post office main mail and cargo centres .</a:t>
            </a:r>
            <a:r>
              <a:rPr lang="en-ZA" sz="1600" kern="0" dirty="0">
                <a:solidFill>
                  <a:srgbClr val="000000"/>
                </a:solidFill>
                <a:cs typeface="Arial" pitchFamily="34" charset="0"/>
              </a:rPr>
              <a:t>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A0501E7-C3EF-0655-61F7-52C202A59839}"/>
              </a:ext>
            </a:extLst>
          </p:cNvPr>
          <p:cNvCxnSpPr/>
          <p:nvPr/>
        </p:nvCxnSpPr>
        <p:spPr>
          <a:xfrm>
            <a:off x="6081713" y="1546225"/>
            <a:ext cx="0" cy="44338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52" name="Plane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A0DCD06-FEE0-BDD4-B10C-61F7BC549EC4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5005388" y="1644650"/>
            <a:ext cx="612775" cy="711200"/>
          </a:xfrm>
          <a:custGeom>
            <a:avLst/>
            <a:gdLst>
              <a:gd name="T0" fmla="*/ 2147483646 w 5462"/>
              <a:gd name="T1" fmla="*/ 2147483646 h 6317"/>
              <a:gd name="T2" fmla="*/ 2147483646 w 5462"/>
              <a:gd name="T3" fmla="*/ 2147483646 h 6317"/>
              <a:gd name="T4" fmla="*/ 2147483646 w 5462"/>
              <a:gd name="T5" fmla="*/ 2147483646 h 6317"/>
              <a:gd name="T6" fmla="*/ 2147483646 w 5462"/>
              <a:gd name="T7" fmla="*/ 2147483646 h 6317"/>
              <a:gd name="T8" fmla="*/ 2147483646 w 5462"/>
              <a:gd name="T9" fmla="*/ 2147483646 h 6317"/>
              <a:gd name="T10" fmla="*/ 2147483646 w 5462"/>
              <a:gd name="T11" fmla="*/ 2147483646 h 6317"/>
              <a:gd name="T12" fmla="*/ 2147483646 w 5462"/>
              <a:gd name="T13" fmla="*/ 2147483646 h 6317"/>
              <a:gd name="T14" fmla="*/ 2147483646 w 5462"/>
              <a:gd name="T15" fmla="*/ 2147483646 h 6317"/>
              <a:gd name="T16" fmla="*/ 2147483646 w 5462"/>
              <a:gd name="T17" fmla="*/ 2147483646 h 6317"/>
              <a:gd name="T18" fmla="*/ 2147483646 w 5462"/>
              <a:gd name="T19" fmla="*/ 2147483646 h 6317"/>
              <a:gd name="T20" fmla="*/ 2147483646 w 5462"/>
              <a:gd name="T21" fmla="*/ 2147483646 h 6317"/>
              <a:gd name="T22" fmla="*/ 2147483646 w 5462"/>
              <a:gd name="T23" fmla="*/ 2147483646 h 6317"/>
              <a:gd name="T24" fmla="*/ 2147483646 w 5462"/>
              <a:gd name="T25" fmla="*/ 2147483646 h 6317"/>
              <a:gd name="T26" fmla="*/ 2147483646 w 5462"/>
              <a:gd name="T27" fmla="*/ 2147483646 h 6317"/>
              <a:gd name="T28" fmla="*/ 2147483646 w 5462"/>
              <a:gd name="T29" fmla="*/ 2147483646 h 6317"/>
              <a:gd name="T30" fmla="*/ 2147483646 w 5462"/>
              <a:gd name="T31" fmla="*/ 2147483646 h 6317"/>
              <a:gd name="T32" fmla="*/ 2147483646 w 5462"/>
              <a:gd name="T33" fmla="*/ 2147483646 h 6317"/>
              <a:gd name="T34" fmla="*/ 2147483646 w 5462"/>
              <a:gd name="T35" fmla="*/ 2147483646 h 6317"/>
              <a:gd name="T36" fmla="*/ 2147483646 w 5462"/>
              <a:gd name="T37" fmla="*/ 2147483646 h 6317"/>
              <a:gd name="T38" fmla="*/ 2147483646 w 5462"/>
              <a:gd name="T39" fmla="*/ 2147483646 h 6317"/>
              <a:gd name="T40" fmla="*/ 2147483646 w 5462"/>
              <a:gd name="T41" fmla="*/ 2147483646 h 6317"/>
              <a:gd name="T42" fmla="*/ 2147483646 w 5462"/>
              <a:gd name="T43" fmla="*/ 2147483646 h 6317"/>
              <a:gd name="T44" fmla="*/ 2147483646 w 5462"/>
              <a:gd name="T45" fmla="*/ 2147483646 h 6317"/>
              <a:gd name="T46" fmla="*/ 2147483646 w 5462"/>
              <a:gd name="T47" fmla="*/ 2147483646 h 6317"/>
              <a:gd name="T48" fmla="*/ 2147483646 w 5462"/>
              <a:gd name="T49" fmla="*/ 2147483646 h 6317"/>
              <a:gd name="T50" fmla="*/ 2147483646 w 5462"/>
              <a:gd name="T51" fmla="*/ 2147483646 h 6317"/>
              <a:gd name="T52" fmla="*/ 2147483646 w 5462"/>
              <a:gd name="T53" fmla="*/ 2147483646 h 6317"/>
              <a:gd name="T54" fmla="*/ 2147483646 w 5462"/>
              <a:gd name="T55" fmla="*/ 2147483646 h 6317"/>
              <a:gd name="T56" fmla="*/ 2147483646 w 5462"/>
              <a:gd name="T57" fmla="*/ 2147483646 h 6317"/>
              <a:gd name="T58" fmla="*/ 2147483646 w 5462"/>
              <a:gd name="T59" fmla="*/ 2147483646 h 6317"/>
              <a:gd name="T60" fmla="*/ 2147483646 w 5462"/>
              <a:gd name="T61" fmla="*/ 2147483646 h 6317"/>
              <a:gd name="T62" fmla="*/ 2147483646 w 5462"/>
              <a:gd name="T63" fmla="*/ 2147483646 h 6317"/>
              <a:gd name="T64" fmla="*/ 2147483646 w 5462"/>
              <a:gd name="T65" fmla="*/ 2147483646 h 6317"/>
              <a:gd name="T66" fmla="*/ 2147483646 w 5462"/>
              <a:gd name="T67" fmla="*/ 2147483646 h 6317"/>
              <a:gd name="T68" fmla="*/ 2147483646 w 5462"/>
              <a:gd name="T69" fmla="*/ 2147483646 h 6317"/>
              <a:gd name="T70" fmla="*/ 2147483646 w 5462"/>
              <a:gd name="T71" fmla="*/ 2147483646 h 6317"/>
              <a:gd name="T72" fmla="*/ 2147483646 w 5462"/>
              <a:gd name="T73" fmla="*/ 2147483646 h 6317"/>
              <a:gd name="T74" fmla="*/ 2147483646 w 5462"/>
              <a:gd name="T75" fmla="*/ 2147483646 h 6317"/>
              <a:gd name="T76" fmla="*/ 2147483646 w 5462"/>
              <a:gd name="T77" fmla="*/ 2147483646 h 6317"/>
              <a:gd name="T78" fmla="*/ 2147483646 w 5462"/>
              <a:gd name="T79" fmla="*/ 2147483646 h 6317"/>
              <a:gd name="T80" fmla="*/ 2147483646 w 5462"/>
              <a:gd name="T81" fmla="*/ 2147483646 h 6317"/>
              <a:gd name="T82" fmla="*/ 2147483646 w 5462"/>
              <a:gd name="T83" fmla="*/ 2147483646 h 6317"/>
              <a:gd name="T84" fmla="*/ 2147483646 w 5462"/>
              <a:gd name="T85" fmla="*/ 2147483646 h 6317"/>
              <a:gd name="T86" fmla="*/ 2147483646 w 5462"/>
              <a:gd name="T87" fmla="*/ 2147483646 h 6317"/>
              <a:gd name="T88" fmla="*/ 2147483646 w 5462"/>
              <a:gd name="T89" fmla="*/ 2147483646 h 6317"/>
              <a:gd name="T90" fmla="*/ 2147483646 w 5462"/>
              <a:gd name="T91" fmla="*/ 2147483646 h 6317"/>
              <a:gd name="T92" fmla="*/ 2147483646 w 5462"/>
              <a:gd name="T93" fmla="*/ 2147483646 h 6317"/>
              <a:gd name="T94" fmla="*/ 2147483646 w 5462"/>
              <a:gd name="T95" fmla="*/ 2147483646 h 631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5462" h="6317">
                <a:moveTo>
                  <a:pt x="2730" y="64"/>
                </a:moveTo>
                <a:cubicBezTo>
                  <a:pt x="2568" y="64"/>
                  <a:pt x="2491" y="599"/>
                  <a:pt x="2463" y="850"/>
                </a:cubicBezTo>
                <a:cubicBezTo>
                  <a:pt x="2457" y="926"/>
                  <a:pt x="2451" y="995"/>
                  <a:pt x="2451" y="1066"/>
                </a:cubicBezTo>
                <a:lnTo>
                  <a:pt x="2451" y="1823"/>
                </a:lnTo>
                <a:cubicBezTo>
                  <a:pt x="2449" y="1866"/>
                  <a:pt x="2442" y="1878"/>
                  <a:pt x="2417" y="1899"/>
                </a:cubicBezTo>
                <a:lnTo>
                  <a:pt x="1833" y="2408"/>
                </a:lnTo>
                <a:cubicBezTo>
                  <a:pt x="1793" y="2436"/>
                  <a:pt x="1741" y="2435"/>
                  <a:pt x="1745" y="2340"/>
                </a:cubicBezTo>
                <a:lnTo>
                  <a:pt x="1745" y="2272"/>
                </a:lnTo>
                <a:cubicBezTo>
                  <a:pt x="1745" y="2235"/>
                  <a:pt x="1715" y="2205"/>
                  <a:pt x="1678" y="2205"/>
                </a:cubicBezTo>
                <a:lnTo>
                  <a:pt x="1594" y="2205"/>
                </a:lnTo>
                <a:cubicBezTo>
                  <a:pt x="1557" y="2205"/>
                  <a:pt x="1527" y="2235"/>
                  <a:pt x="1527" y="2272"/>
                </a:cubicBezTo>
                <a:lnTo>
                  <a:pt x="1527" y="2669"/>
                </a:lnTo>
                <a:cubicBezTo>
                  <a:pt x="1527" y="2681"/>
                  <a:pt x="1525" y="2682"/>
                  <a:pt x="1516" y="2690"/>
                </a:cubicBezTo>
                <a:lnTo>
                  <a:pt x="962" y="3182"/>
                </a:lnTo>
                <a:cubicBezTo>
                  <a:pt x="906" y="3221"/>
                  <a:pt x="885" y="3183"/>
                  <a:pt x="882" y="3113"/>
                </a:cubicBezTo>
                <a:lnTo>
                  <a:pt x="882" y="2990"/>
                </a:lnTo>
                <a:cubicBezTo>
                  <a:pt x="882" y="2953"/>
                  <a:pt x="852" y="2922"/>
                  <a:pt x="815" y="2922"/>
                </a:cubicBezTo>
                <a:lnTo>
                  <a:pt x="731" y="2922"/>
                </a:lnTo>
                <a:cubicBezTo>
                  <a:pt x="694" y="2922"/>
                  <a:pt x="664" y="2953"/>
                  <a:pt x="664" y="2990"/>
                </a:cubicBezTo>
                <a:lnTo>
                  <a:pt x="664" y="3400"/>
                </a:lnTo>
                <a:cubicBezTo>
                  <a:pt x="663" y="3406"/>
                  <a:pt x="661" y="3406"/>
                  <a:pt x="659" y="3409"/>
                </a:cubicBezTo>
                <a:lnTo>
                  <a:pt x="65" y="3921"/>
                </a:lnTo>
                <a:cubicBezTo>
                  <a:pt x="27" y="3970"/>
                  <a:pt x="5" y="3992"/>
                  <a:pt x="7" y="4074"/>
                </a:cubicBezTo>
                <a:lnTo>
                  <a:pt x="5" y="4304"/>
                </a:lnTo>
                <a:cubicBezTo>
                  <a:pt x="0" y="4335"/>
                  <a:pt x="29" y="4348"/>
                  <a:pt x="50" y="4338"/>
                </a:cubicBezTo>
                <a:cubicBezTo>
                  <a:pt x="50" y="4338"/>
                  <a:pt x="1064" y="3712"/>
                  <a:pt x="1453" y="3540"/>
                </a:cubicBezTo>
                <a:cubicBezTo>
                  <a:pt x="1842" y="3368"/>
                  <a:pt x="2360" y="3251"/>
                  <a:pt x="2360" y="3251"/>
                </a:cubicBezTo>
                <a:cubicBezTo>
                  <a:pt x="2400" y="3241"/>
                  <a:pt x="2436" y="3240"/>
                  <a:pt x="2451" y="3283"/>
                </a:cubicBezTo>
                <a:lnTo>
                  <a:pt x="2451" y="5015"/>
                </a:lnTo>
                <a:cubicBezTo>
                  <a:pt x="2452" y="5222"/>
                  <a:pt x="2530" y="5347"/>
                  <a:pt x="2451" y="5421"/>
                </a:cubicBezTo>
                <a:lnTo>
                  <a:pt x="1805" y="6050"/>
                </a:lnTo>
                <a:cubicBezTo>
                  <a:pt x="1765" y="6092"/>
                  <a:pt x="1743" y="6127"/>
                  <a:pt x="1738" y="6195"/>
                </a:cubicBezTo>
                <a:lnTo>
                  <a:pt x="1739" y="6267"/>
                </a:lnTo>
                <a:cubicBezTo>
                  <a:pt x="1741" y="6300"/>
                  <a:pt x="1754" y="6317"/>
                  <a:pt x="1785" y="6313"/>
                </a:cubicBezTo>
                <a:lnTo>
                  <a:pt x="2611" y="6110"/>
                </a:lnTo>
                <a:cubicBezTo>
                  <a:pt x="2633" y="6103"/>
                  <a:pt x="2650" y="6106"/>
                  <a:pt x="2666" y="6127"/>
                </a:cubicBezTo>
                <a:lnTo>
                  <a:pt x="2750" y="6313"/>
                </a:lnTo>
                <a:lnTo>
                  <a:pt x="2854" y="6122"/>
                </a:lnTo>
                <a:cubicBezTo>
                  <a:pt x="2868" y="6101"/>
                  <a:pt x="2895" y="6092"/>
                  <a:pt x="2915" y="6099"/>
                </a:cubicBezTo>
                <a:cubicBezTo>
                  <a:pt x="3171" y="6159"/>
                  <a:pt x="3426" y="6220"/>
                  <a:pt x="3681" y="6280"/>
                </a:cubicBezTo>
                <a:cubicBezTo>
                  <a:pt x="3714" y="6284"/>
                  <a:pt x="3740" y="6283"/>
                  <a:pt x="3744" y="6239"/>
                </a:cubicBezTo>
                <a:lnTo>
                  <a:pt x="3744" y="6130"/>
                </a:lnTo>
                <a:cubicBezTo>
                  <a:pt x="3727" y="6055"/>
                  <a:pt x="3684" y="6019"/>
                  <a:pt x="3638" y="5974"/>
                </a:cubicBezTo>
                <a:lnTo>
                  <a:pt x="2989" y="5421"/>
                </a:lnTo>
                <a:cubicBezTo>
                  <a:pt x="2929" y="5360"/>
                  <a:pt x="2989" y="5230"/>
                  <a:pt x="3009" y="5021"/>
                </a:cubicBezTo>
                <a:lnTo>
                  <a:pt x="3009" y="3309"/>
                </a:lnTo>
                <a:lnTo>
                  <a:pt x="3010" y="3308"/>
                </a:lnTo>
                <a:lnTo>
                  <a:pt x="3011" y="3308"/>
                </a:lnTo>
                <a:lnTo>
                  <a:pt x="3011" y="3307"/>
                </a:lnTo>
                <a:lnTo>
                  <a:pt x="3012" y="3307"/>
                </a:lnTo>
                <a:lnTo>
                  <a:pt x="3012" y="3306"/>
                </a:lnTo>
                <a:cubicBezTo>
                  <a:pt x="3013" y="3304"/>
                  <a:pt x="3013" y="3301"/>
                  <a:pt x="3014" y="3299"/>
                </a:cubicBezTo>
                <a:cubicBezTo>
                  <a:pt x="3014" y="3297"/>
                  <a:pt x="3015" y="3295"/>
                  <a:pt x="3016" y="3292"/>
                </a:cubicBezTo>
                <a:cubicBezTo>
                  <a:pt x="3017" y="3290"/>
                  <a:pt x="3017" y="3288"/>
                  <a:pt x="3018" y="3286"/>
                </a:cubicBezTo>
                <a:cubicBezTo>
                  <a:pt x="3019" y="3284"/>
                  <a:pt x="3020" y="3282"/>
                  <a:pt x="3021" y="3280"/>
                </a:cubicBezTo>
                <a:cubicBezTo>
                  <a:pt x="3021" y="3278"/>
                  <a:pt x="3022" y="3276"/>
                  <a:pt x="3023" y="3275"/>
                </a:cubicBezTo>
                <a:cubicBezTo>
                  <a:pt x="3024" y="3273"/>
                  <a:pt x="3025" y="3271"/>
                  <a:pt x="3027" y="3270"/>
                </a:cubicBezTo>
                <a:cubicBezTo>
                  <a:pt x="3028" y="3268"/>
                  <a:pt x="3029" y="3267"/>
                  <a:pt x="3031" y="3265"/>
                </a:cubicBezTo>
                <a:cubicBezTo>
                  <a:pt x="3032" y="3264"/>
                  <a:pt x="3034" y="3262"/>
                  <a:pt x="3035" y="3261"/>
                </a:cubicBezTo>
                <a:cubicBezTo>
                  <a:pt x="3037" y="3259"/>
                  <a:pt x="3038" y="3258"/>
                  <a:pt x="3040" y="3257"/>
                </a:cubicBezTo>
                <a:cubicBezTo>
                  <a:pt x="3041" y="3256"/>
                  <a:pt x="3043" y="3255"/>
                  <a:pt x="3045" y="3254"/>
                </a:cubicBezTo>
                <a:cubicBezTo>
                  <a:pt x="3047" y="3253"/>
                  <a:pt x="3049" y="3252"/>
                  <a:pt x="3051" y="3252"/>
                </a:cubicBezTo>
                <a:cubicBezTo>
                  <a:pt x="3053" y="3251"/>
                  <a:pt x="3055" y="3250"/>
                  <a:pt x="3057" y="3250"/>
                </a:cubicBezTo>
                <a:cubicBezTo>
                  <a:pt x="3060" y="3250"/>
                  <a:pt x="3062" y="3249"/>
                  <a:pt x="3064" y="3249"/>
                </a:cubicBezTo>
                <a:cubicBezTo>
                  <a:pt x="3067" y="3249"/>
                  <a:pt x="3069" y="3249"/>
                  <a:pt x="3072" y="3249"/>
                </a:cubicBezTo>
                <a:cubicBezTo>
                  <a:pt x="3075" y="3249"/>
                  <a:pt x="3077" y="3249"/>
                  <a:pt x="3080" y="3249"/>
                </a:cubicBezTo>
                <a:cubicBezTo>
                  <a:pt x="3083" y="3250"/>
                  <a:pt x="3086" y="3250"/>
                  <a:pt x="3089" y="3251"/>
                </a:cubicBezTo>
                <a:cubicBezTo>
                  <a:pt x="3092" y="3251"/>
                  <a:pt x="3560" y="3353"/>
                  <a:pt x="3957" y="3520"/>
                </a:cubicBezTo>
                <a:cubicBezTo>
                  <a:pt x="4354" y="3688"/>
                  <a:pt x="5413" y="4322"/>
                  <a:pt x="5413" y="4322"/>
                </a:cubicBezTo>
                <a:cubicBezTo>
                  <a:pt x="5437" y="4327"/>
                  <a:pt x="5458" y="4323"/>
                  <a:pt x="5461" y="4299"/>
                </a:cubicBezTo>
                <a:lnTo>
                  <a:pt x="5461" y="4085"/>
                </a:lnTo>
                <a:cubicBezTo>
                  <a:pt x="5462" y="4028"/>
                  <a:pt x="5428" y="3977"/>
                  <a:pt x="5403" y="3954"/>
                </a:cubicBezTo>
                <a:lnTo>
                  <a:pt x="4822" y="3440"/>
                </a:lnTo>
                <a:cubicBezTo>
                  <a:pt x="4802" y="3415"/>
                  <a:pt x="4797" y="3411"/>
                  <a:pt x="4797" y="3396"/>
                </a:cubicBezTo>
                <a:lnTo>
                  <a:pt x="4797" y="2990"/>
                </a:lnTo>
                <a:cubicBezTo>
                  <a:pt x="4797" y="2952"/>
                  <a:pt x="4767" y="2922"/>
                  <a:pt x="4729" y="2922"/>
                </a:cubicBezTo>
                <a:lnTo>
                  <a:pt x="4645" y="2922"/>
                </a:lnTo>
                <a:cubicBezTo>
                  <a:pt x="4608" y="2922"/>
                  <a:pt x="4578" y="2952"/>
                  <a:pt x="4578" y="2990"/>
                </a:cubicBezTo>
                <a:lnTo>
                  <a:pt x="4578" y="3113"/>
                </a:lnTo>
                <a:cubicBezTo>
                  <a:pt x="4585" y="3187"/>
                  <a:pt x="4565" y="3214"/>
                  <a:pt x="4520" y="3179"/>
                </a:cubicBezTo>
                <a:lnTo>
                  <a:pt x="3950" y="2689"/>
                </a:lnTo>
                <a:cubicBezTo>
                  <a:pt x="3937" y="2679"/>
                  <a:pt x="3934" y="2678"/>
                  <a:pt x="3934" y="2667"/>
                </a:cubicBezTo>
                <a:lnTo>
                  <a:pt x="3934" y="2272"/>
                </a:lnTo>
                <a:cubicBezTo>
                  <a:pt x="3934" y="2235"/>
                  <a:pt x="3904" y="2204"/>
                  <a:pt x="3866" y="2204"/>
                </a:cubicBezTo>
                <a:lnTo>
                  <a:pt x="3783" y="2204"/>
                </a:lnTo>
                <a:cubicBezTo>
                  <a:pt x="3745" y="2204"/>
                  <a:pt x="3716" y="2235"/>
                  <a:pt x="3716" y="2272"/>
                </a:cubicBezTo>
                <a:lnTo>
                  <a:pt x="3716" y="2340"/>
                </a:lnTo>
                <a:cubicBezTo>
                  <a:pt x="3725" y="2434"/>
                  <a:pt x="3663" y="2453"/>
                  <a:pt x="3622" y="2407"/>
                </a:cubicBezTo>
                <a:lnTo>
                  <a:pt x="3042" y="1898"/>
                </a:lnTo>
                <a:cubicBezTo>
                  <a:pt x="3015" y="1874"/>
                  <a:pt x="3012" y="1859"/>
                  <a:pt x="3009" y="1824"/>
                </a:cubicBezTo>
                <a:lnTo>
                  <a:pt x="3009" y="1066"/>
                </a:lnTo>
                <a:cubicBezTo>
                  <a:pt x="3008" y="991"/>
                  <a:pt x="3004" y="907"/>
                  <a:pt x="2995" y="839"/>
                </a:cubicBezTo>
                <a:cubicBezTo>
                  <a:pt x="2962" y="573"/>
                  <a:pt x="2859" y="0"/>
                  <a:pt x="2731" y="64"/>
                </a:cubicBezTo>
                <a:lnTo>
                  <a:pt x="2730" y="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ZA"/>
          </a:p>
        </p:txBody>
      </p:sp>
      <p:grpSp>
        <p:nvGrpSpPr>
          <p:cNvPr id="81" name="Airpor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BBFB313-F34E-3748-70DE-25989C3EB903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4940300" y="2969692"/>
            <a:ext cx="770692" cy="395644"/>
            <a:chOff x="36513" y="2371725"/>
            <a:chExt cx="12177713" cy="6251576"/>
          </a:xfrm>
          <a:solidFill>
            <a:schemeClr val="bg1"/>
          </a:solidFill>
        </p:grpSpPr>
        <p:sp>
          <p:nvSpPr>
            <p:cNvPr id="103" name="Freeform 657">
              <a:extLst>
                <a:ext uri="{FF2B5EF4-FFF2-40B4-BE49-F238E27FC236}">
                  <a16:creationId xmlns:a16="http://schemas.microsoft.com/office/drawing/2014/main" id="{70AFC943-2F38-170B-979B-72595F34E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6326" y="2549525"/>
              <a:ext cx="3517900" cy="2246313"/>
            </a:xfrm>
            <a:custGeom>
              <a:avLst/>
              <a:gdLst>
                <a:gd name="T0" fmla="*/ 0 w 1704"/>
                <a:gd name="T1" fmla="*/ 859 h 1086"/>
                <a:gd name="T2" fmla="*/ 295 w 1704"/>
                <a:gd name="T3" fmla="*/ 1086 h 1086"/>
                <a:gd name="T4" fmla="*/ 1560 w 1704"/>
                <a:gd name="T5" fmla="*/ 287 h 1086"/>
                <a:gd name="T6" fmla="*/ 1426 w 1704"/>
                <a:gd name="T7" fmla="*/ 92 h 1086"/>
                <a:gd name="T8" fmla="*/ 964 w 1704"/>
                <a:gd name="T9" fmla="*/ 388 h 1086"/>
                <a:gd name="T10" fmla="*/ 151 w 1704"/>
                <a:gd name="T11" fmla="*/ 252 h 1086"/>
                <a:gd name="T12" fmla="*/ 6 w 1704"/>
                <a:gd name="T13" fmla="*/ 384 h 1086"/>
                <a:gd name="T14" fmla="*/ 652 w 1704"/>
                <a:gd name="T15" fmla="*/ 587 h 1086"/>
                <a:gd name="T16" fmla="*/ 297 w 1704"/>
                <a:gd name="T17" fmla="*/ 812 h 1086"/>
                <a:gd name="T18" fmla="*/ 133 w 1704"/>
                <a:gd name="T19" fmla="*/ 772 h 1086"/>
                <a:gd name="T20" fmla="*/ 0 w 1704"/>
                <a:gd name="T21" fmla="*/ 859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04" h="1086">
                  <a:moveTo>
                    <a:pt x="0" y="859"/>
                  </a:moveTo>
                  <a:lnTo>
                    <a:pt x="295" y="1086"/>
                  </a:lnTo>
                  <a:lnTo>
                    <a:pt x="1560" y="287"/>
                  </a:lnTo>
                  <a:cubicBezTo>
                    <a:pt x="1704" y="196"/>
                    <a:pt x="1569" y="0"/>
                    <a:pt x="1426" y="92"/>
                  </a:cubicBezTo>
                  <a:lnTo>
                    <a:pt x="964" y="388"/>
                  </a:lnTo>
                  <a:lnTo>
                    <a:pt x="151" y="252"/>
                  </a:lnTo>
                  <a:lnTo>
                    <a:pt x="6" y="384"/>
                  </a:lnTo>
                  <a:lnTo>
                    <a:pt x="652" y="587"/>
                  </a:lnTo>
                  <a:lnTo>
                    <a:pt x="297" y="812"/>
                  </a:lnTo>
                  <a:lnTo>
                    <a:pt x="133" y="772"/>
                  </a:lnTo>
                  <a:lnTo>
                    <a:pt x="0" y="8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4" name="Freeform 658">
              <a:extLst>
                <a:ext uri="{FF2B5EF4-FFF2-40B4-BE49-F238E27FC236}">
                  <a16:creationId xmlns:a16="http://schemas.microsoft.com/office/drawing/2014/main" id="{CEFC9BF8-29FC-16A6-647B-5546A743B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3" y="2371725"/>
              <a:ext cx="4373563" cy="2978150"/>
            </a:xfrm>
            <a:custGeom>
              <a:avLst/>
              <a:gdLst>
                <a:gd name="T0" fmla="*/ 0 w 2118"/>
                <a:gd name="T1" fmla="*/ 343 h 1440"/>
                <a:gd name="T2" fmla="*/ 24 w 2118"/>
                <a:gd name="T3" fmla="*/ 814 h 1440"/>
                <a:gd name="T4" fmla="*/ 1835 w 2118"/>
                <a:gd name="T5" fmla="*/ 1376 h 1440"/>
                <a:gd name="T6" fmla="*/ 1912 w 2118"/>
                <a:gd name="T7" fmla="*/ 1085 h 1440"/>
                <a:gd name="T8" fmla="*/ 1246 w 2118"/>
                <a:gd name="T9" fmla="*/ 884 h 1440"/>
                <a:gd name="T10" fmla="*/ 1047 w 2118"/>
                <a:gd name="T11" fmla="*/ 31 h 1440"/>
                <a:gd name="T12" fmla="*/ 801 w 2118"/>
                <a:gd name="T13" fmla="*/ 0 h 1440"/>
                <a:gd name="T14" fmla="*/ 798 w 2118"/>
                <a:gd name="T15" fmla="*/ 748 h 1440"/>
                <a:gd name="T16" fmla="*/ 289 w 2118"/>
                <a:gd name="T17" fmla="*/ 591 h 1440"/>
                <a:gd name="T18" fmla="*/ 193 w 2118"/>
                <a:gd name="T19" fmla="*/ 400 h 1440"/>
                <a:gd name="T20" fmla="*/ 0 w 2118"/>
                <a:gd name="T21" fmla="*/ 343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18" h="1440">
                  <a:moveTo>
                    <a:pt x="0" y="343"/>
                  </a:moveTo>
                  <a:lnTo>
                    <a:pt x="24" y="814"/>
                  </a:lnTo>
                  <a:lnTo>
                    <a:pt x="1835" y="1376"/>
                  </a:lnTo>
                  <a:cubicBezTo>
                    <a:pt x="2041" y="1440"/>
                    <a:pt x="2118" y="1147"/>
                    <a:pt x="1912" y="1085"/>
                  </a:cubicBezTo>
                  <a:lnTo>
                    <a:pt x="1246" y="884"/>
                  </a:lnTo>
                  <a:lnTo>
                    <a:pt x="1047" y="31"/>
                  </a:lnTo>
                  <a:lnTo>
                    <a:pt x="801" y="0"/>
                  </a:lnTo>
                  <a:lnTo>
                    <a:pt x="798" y="748"/>
                  </a:lnTo>
                  <a:lnTo>
                    <a:pt x="289" y="591"/>
                  </a:lnTo>
                  <a:lnTo>
                    <a:pt x="193" y="400"/>
                  </a:lnTo>
                  <a:lnTo>
                    <a:pt x="0" y="3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5" name="Oval 659">
              <a:extLst>
                <a:ext uri="{FF2B5EF4-FFF2-40B4-BE49-F238E27FC236}">
                  <a16:creationId xmlns:a16="http://schemas.microsoft.com/office/drawing/2014/main" id="{DA3FE029-F56E-CA06-9B6B-0EFB493A00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8763" y="4713288"/>
              <a:ext cx="319088" cy="32067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6" name="Oval 660">
              <a:extLst>
                <a:ext uri="{FF2B5EF4-FFF2-40B4-BE49-F238E27FC236}">
                  <a16:creationId xmlns:a16="http://schemas.microsoft.com/office/drawing/2014/main" id="{DD6AFFDB-DACB-A3E8-8D4A-1B02070B4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3413" y="4810125"/>
              <a:ext cx="319088" cy="31908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7" name="Freeform: Shape 784">
              <a:extLst>
                <a:ext uri="{FF2B5EF4-FFF2-40B4-BE49-F238E27FC236}">
                  <a16:creationId xmlns:a16="http://schemas.microsoft.com/office/drawing/2014/main" id="{0C202028-8969-4302-B7FC-7D5970DA27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8" y="6240463"/>
              <a:ext cx="12111038" cy="2382838"/>
            </a:xfrm>
            <a:custGeom>
              <a:avLst/>
              <a:gdLst>
                <a:gd name="connsiteX0" fmla="*/ 247650 w 12111038"/>
                <a:gd name="connsiteY0" fmla="*/ 1027112 h 2382838"/>
                <a:gd name="connsiteX1" fmla="*/ 247650 w 12111038"/>
                <a:gd name="connsiteY1" fmla="*/ 1562100 h 2382838"/>
                <a:gd name="connsiteX2" fmla="*/ 5722938 w 12111038"/>
                <a:gd name="connsiteY2" fmla="*/ 1562100 h 2382838"/>
                <a:gd name="connsiteX3" fmla="*/ 5722938 w 12111038"/>
                <a:gd name="connsiteY3" fmla="*/ 1027112 h 2382838"/>
                <a:gd name="connsiteX4" fmla="*/ 7383463 w 12111038"/>
                <a:gd name="connsiteY4" fmla="*/ 989012 h 2382838"/>
                <a:gd name="connsiteX5" fmla="*/ 7383463 w 12111038"/>
                <a:gd name="connsiteY5" fmla="*/ 1525587 h 2382838"/>
                <a:gd name="connsiteX6" fmla="*/ 11826876 w 12111038"/>
                <a:gd name="connsiteY6" fmla="*/ 1525587 h 2382838"/>
                <a:gd name="connsiteX7" fmla="*/ 11826876 w 12111038"/>
                <a:gd name="connsiteY7" fmla="*/ 989012 h 2382838"/>
                <a:gd name="connsiteX8" fmla="*/ 239713 w 12111038"/>
                <a:gd name="connsiteY8" fmla="*/ 258762 h 2382838"/>
                <a:gd name="connsiteX9" fmla="*/ 239713 w 12111038"/>
                <a:gd name="connsiteY9" fmla="*/ 795337 h 2382838"/>
                <a:gd name="connsiteX10" fmla="*/ 5715001 w 12111038"/>
                <a:gd name="connsiteY10" fmla="*/ 795337 h 2382838"/>
                <a:gd name="connsiteX11" fmla="*/ 5715001 w 12111038"/>
                <a:gd name="connsiteY11" fmla="*/ 258762 h 2382838"/>
                <a:gd name="connsiteX12" fmla="*/ 7383463 w 12111038"/>
                <a:gd name="connsiteY12" fmla="*/ 250825 h 2382838"/>
                <a:gd name="connsiteX13" fmla="*/ 7383463 w 12111038"/>
                <a:gd name="connsiteY13" fmla="*/ 787400 h 2382838"/>
                <a:gd name="connsiteX14" fmla="*/ 11826876 w 12111038"/>
                <a:gd name="connsiteY14" fmla="*/ 787400 h 2382838"/>
                <a:gd name="connsiteX15" fmla="*/ 11826876 w 12111038"/>
                <a:gd name="connsiteY15" fmla="*/ 250825 h 2382838"/>
                <a:gd name="connsiteX16" fmla="*/ 0 w 12111038"/>
                <a:gd name="connsiteY16" fmla="*/ 0 h 2382838"/>
                <a:gd name="connsiteX17" fmla="*/ 12111038 w 12111038"/>
                <a:gd name="connsiteY17" fmla="*/ 0 h 2382838"/>
                <a:gd name="connsiteX18" fmla="*/ 12111038 w 12111038"/>
                <a:gd name="connsiteY18" fmla="*/ 2382838 h 2382838"/>
                <a:gd name="connsiteX19" fmla="*/ 7124701 w 12111038"/>
                <a:gd name="connsiteY19" fmla="*/ 2382838 h 2382838"/>
                <a:gd name="connsiteX20" fmla="*/ 7124701 w 12111038"/>
                <a:gd name="connsiteY20" fmla="*/ 1895475 h 2382838"/>
                <a:gd name="connsiteX21" fmla="*/ 6037263 w 12111038"/>
                <a:gd name="connsiteY21" fmla="*/ 1895475 h 2382838"/>
                <a:gd name="connsiteX22" fmla="*/ 6037263 w 12111038"/>
                <a:gd name="connsiteY22" fmla="*/ 2382838 h 2382838"/>
                <a:gd name="connsiteX23" fmla="*/ 0 w 12111038"/>
                <a:gd name="connsiteY23" fmla="*/ 2382838 h 2382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111038" h="2382838">
                  <a:moveTo>
                    <a:pt x="247650" y="1027112"/>
                  </a:moveTo>
                  <a:lnTo>
                    <a:pt x="247650" y="1562100"/>
                  </a:lnTo>
                  <a:lnTo>
                    <a:pt x="5722938" y="1562100"/>
                  </a:lnTo>
                  <a:lnTo>
                    <a:pt x="5722938" y="1027112"/>
                  </a:lnTo>
                  <a:close/>
                  <a:moveTo>
                    <a:pt x="7383463" y="989012"/>
                  </a:moveTo>
                  <a:lnTo>
                    <a:pt x="7383463" y="1525587"/>
                  </a:lnTo>
                  <a:lnTo>
                    <a:pt x="11826876" y="1525587"/>
                  </a:lnTo>
                  <a:lnTo>
                    <a:pt x="11826876" y="989012"/>
                  </a:lnTo>
                  <a:close/>
                  <a:moveTo>
                    <a:pt x="239713" y="258762"/>
                  </a:moveTo>
                  <a:lnTo>
                    <a:pt x="239713" y="795337"/>
                  </a:lnTo>
                  <a:lnTo>
                    <a:pt x="5715001" y="795337"/>
                  </a:lnTo>
                  <a:lnTo>
                    <a:pt x="5715001" y="258762"/>
                  </a:lnTo>
                  <a:close/>
                  <a:moveTo>
                    <a:pt x="7383463" y="250825"/>
                  </a:moveTo>
                  <a:lnTo>
                    <a:pt x="7383463" y="787400"/>
                  </a:lnTo>
                  <a:lnTo>
                    <a:pt x="11826876" y="787400"/>
                  </a:lnTo>
                  <a:lnTo>
                    <a:pt x="11826876" y="250825"/>
                  </a:lnTo>
                  <a:close/>
                  <a:moveTo>
                    <a:pt x="0" y="0"/>
                  </a:moveTo>
                  <a:lnTo>
                    <a:pt x="12111038" y="0"/>
                  </a:lnTo>
                  <a:lnTo>
                    <a:pt x="12111038" y="2382838"/>
                  </a:lnTo>
                  <a:lnTo>
                    <a:pt x="7124701" y="2382838"/>
                  </a:lnTo>
                  <a:lnTo>
                    <a:pt x="7124701" y="1895475"/>
                  </a:lnTo>
                  <a:lnTo>
                    <a:pt x="6037263" y="1895475"/>
                  </a:lnTo>
                  <a:lnTo>
                    <a:pt x="6037263" y="2382838"/>
                  </a:lnTo>
                  <a:lnTo>
                    <a:pt x="0" y="2382838"/>
                  </a:lnTo>
                  <a:close/>
                </a:path>
              </a:pathLst>
            </a:cu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8" name="Freeform: Shape 789">
              <a:extLst>
                <a:ext uri="{FF2B5EF4-FFF2-40B4-BE49-F238E27FC236}">
                  <a16:creationId xmlns:a16="http://schemas.microsoft.com/office/drawing/2014/main" id="{2D7FCAB0-5040-AFF8-63DB-B5C0B037D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2788" y="3490913"/>
              <a:ext cx="1657350" cy="4948238"/>
            </a:xfrm>
            <a:custGeom>
              <a:avLst/>
              <a:gdLst>
                <a:gd name="connsiteX0" fmla="*/ 0 w 1657350"/>
                <a:gd name="connsiteY0" fmla="*/ 1303337 h 4948238"/>
                <a:gd name="connsiteX1" fmla="*/ 1657350 w 1657350"/>
                <a:gd name="connsiteY1" fmla="*/ 1303337 h 4948238"/>
                <a:gd name="connsiteX2" fmla="*/ 1657350 w 1657350"/>
                <a:gd name="connsiteY2" fmla="*/ 4948238 h 4948238"/>
                <a:gd name="connsiteX3" fmla="*/ 0 w 1657350"/>
                <a:gd name="connsiteY3" fmla="*/ 4948238 h 4948238"/>
                <a:gd name="connsiteX4" fmla="*/ 0 w 1657350"/>
                <a:gd name="connsiteY4" fmla="*/ 0 h 4948238"/>
                <a:gd name="connsiteX5" fmla="*/ 1657350 w 1657350"/>
                <a:gd name="connsiteY5" fmla="*/ 0 h 4948238"/>
                <a:gd name="connsiteX6" fmla="*/ 1657350 w 1657350"/>
                <a:gd name="connsiteY6" fmla="*/ 766762 h 4948238"/>
                <a:gd name="connsiteX7" fmla="*/ 0 w 1657350"/>
                <a:gd name="connsiteY7" fmla="*/ 766762 h 494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7350" h="4948238">
                  <a:moveTo>
                    <a:pt x="0" y="1303337"/>
                  </a:moveTo>
                  <a:lnTo>
                    <a:pt x="1657350" y="1303337"/>
                  </a:lnTo>
                  <a:lnTo>
                    <a:pt x="1657350" y="4948238"/>
                  </a:lnTo>
                  <a:lnTo>
                    <a:pt x="0" y="4948238"/>
                  </a:lnTo>
                  <a:close/>
                  <a:moveTo>
                    <a:pt x="0" y="0"/>
                  </a:moveTo>
                  <a:lnTo>
                    <a:pt x="1657350" y="0"/>
                  </a:lnTo>
                  <a:lnTo>
                    <a:pt x="1657350" y="766762"/>
                  </a:lnTo>
                  <a:lnTo>
                    <a:pt x="0" y="766762"/>
                  </a:lnTo>
                  <a:close/>
                </a:path>
              </a:pathLst>
            </a:cu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9" name="Freeform: Shape 788">
              <a:extLst>
                <a:ext uri="{FF2B5EF4-FFF2-40B4-BE49-F238E27FC236}">
                  <a16:creationId xmlns:a16="http://schemas.microsoft.com/office/drawing/2014/main" id="{6D86A7BB-A8D0-CBF5-60EF-5BF621B87F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4313" y="3841750"/>
              <a:ext cx="2654300" cy="1144588"/>
            </a:xfrm>
            <a:custGeom>
              <a:avLst/>
              <a:gdLst>
                <a:gd name="connsiteX0" fmla="*/ 139700 w 2654300"/>
                <a:gd name="connsiteY0" fmla="*/ 415925 h 1144588"/>
                <a:gd name="connsiteX1" fmla="*/ 139700 w 2654300"/>
                <a:gd name="connsiteY1" fmla="*/ 952500 h 1144588"/>
                <a:gd name="connsiteX2" fmla="*/ 2516188 w 2654300"/>
                <a:gd name="connsiteY2" fmla="*/ 952500 h 1144588"/>
                <a:gd name="connsiteX3" fmla="*/ 2516188 w 2654300"/>
                <a:gd name="connsiteY3" fmla="*/ 415925 h 1144588"/>
                <a:gd name="connsiteX4" fmla="*/ 0 w 2654300"/>
                <a:gd name="connsiteY4" fmla="*/ 0 h 1144588"/>
                <a:gd name="connsiteX5" fmla="*/ 2654300 w 2654300"/>
                <a:gd name="connsiteY5" fmla="*/ 0 h 1144588"/>
                <a:gd name="connsiteX6" fmla="*/ 2654300 w 2654300"/>
                <a:gd name="connsiteY6" fmla="*/ 1144588 h 1144588"/>
                <a:gd name="connsiteX7" fmla="*/ 0 w 2654300"/>
                <a:gd name="connsiteY7" fmla="*/ 1144588 h 114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54300" h="1144588">
                  <a:moveTo>
                    <a:pt x="139700" y="415925"/>
                  </a:moveTo>
                  <a:lnTo>
                    <a:pt x="139700" y="952500"/>
                  </a:lnTo>
                  <a:lnTo>
                    <a:pt x="2516188" y="952500"/>
                  </a:lnTo>
                  <a:lnTo>
                    <a:pt x="2516188" y="415925"/>
                  </a:lnTo>
                  <a:close/>
                  <a:moveTo>
                    <a:pt x="0" y="0"/>
                  </a:moveTo>
                  <a:lnTo>
                    <a:pt x="2654300" y="0"/>
                  </a:lnTo>
                  <a:lnTo>
                    <a:pt x="2654300" y="1144588"/>
                  </a:lnTo>
                  <a:lnTo>
                    <a:pt x="0" y="1144588"/>
                  </a:lnTo>
                  <a:close/>
                </a:path>
              </a:pathLst>
            </a:cu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15" name="Packag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A468E6C-3C27-9717-F695-8F4699743ECC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4960308" y="4104073"/>
            <a:ext cx="647417" cy="542925"/>
            <a:chOff x="2030" y="2046"/>
            <a:chExt cx="601" cy="504"/>
          </a:xfrm>
          <a:solidFill>
            <a:schemeClr val="bg1"/>
          </a:solidFill>
        </p:grpSpPr>
        <p:sp>
          <p:nvSpPr>
            <p:cNvPr id="116" name="Freeform 35">
              <a:extLst>
                <a:ext uri="{FF2B5EF4-FFF2-40B4-BE49-F238E27FC236}">
                  <a16:creationId xmlns:a16="http://schemas.microsoft.com/office/drawing/2014/main" id="{31D83C6A-52D1-DEF3-A363-6D0206B280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5" y="2046"/>
              <a:ext cx="423" cy="170"/>
            </a:xfrm>
            <a:custGeom>
              <a:avLst/>
              <a:gdLst>
                <a:gd name="T0" fmla="*/ 293 w 881"/>
                <a:gd name="T1" fmla="*/ 355 h 355"/>
                <a:gd name="T2" fmla="*/ 881 w 881"/>
                <a:gd name="T3" fmla="*/ 101 h 355"/>
                <a:gd name="T4" fmla="*/ 619 w 881"/>
                <a:gd name="T5" fmla="*/ 0 h 355"/>
                <a:gd name="T6" fmla="*/ 0 w 881"/>
                <a:gd name="T7" fmla="*/ 225 h 355"/>
                <a:gd name="T8" fmla="*/ 293 w 881"/>
                <a:gd name="T9" fmla="*/ 355 h 355"/>
                <a:gd name="T10" fmla="*/ 596 w 881"/>
                <a:gd name="T11" fmla="*/ 59 h 355"/>
                <a:gd name="T12" fmla="*/ 695 w 881"/>
                <a:gd name="T13" fmla="*/ 99 h 355"/>
                <a:gd name="T14" fmla="*/ 581 w 881"/>
                <a:gd name="T15" fmla="*/ 145 h 355"/>
                <a:gd name="T16" fmla="*/ 483 w 881"/>
                <a:gd name="T17" fmla="*/ 102 h 355"/>
                <a:gd name="T18" fmla="*/ 596 w 881"/>
                <a:gd name="T19" fmla="*/ 59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355">
                  <a:moveTo>
                    <a:pt x="293" y="355"/>
                  </a:moveTo>
                  <a:lnTo>
                    <a:pt x="881" y="101"/>
                  </a:lnTo>
                  <a:lnTo>
                    <a:pt x="619" y="0"/>
                  </a:lnTo>
                  <a:lnTo>
                    <a:pt x="0" y="225"/>
                  </a:lnTo>
                  <a:lnTo>
                    <a:pt x="293" y="355"/>
                  </a:lnTo>
                  <a:close/>
                  <a:moveTo>
                    <a:pt x="596" y="59"/>
                  </a:moveTo>
                  <a:lnTo>
                    <a:pt x="695" y="99"/>
                  </a:lnTo>
                  <a:lnTo>
                    <a:pt x="581" y="145"/>
                  </a:lnTo>
                  <a:lnTo>
                    <a:pt x="483" y="102"/>
                  </a:lnTo>
                  <a:lnTo>
                    <a:pt x="596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7" name="Freeform 36">
              <a:extLst>
                <a:ext uri="{FF2B5EF4-FFF2-40B4-BE49-F238E27FC236}">
                  <a16:creationId xmlns:a16="http://schemas.microsoft.com/office/drawing/2014/main" id="{BF64731D-26CE-8494-86DE-01D8991D0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5" y="2239"/>
              <a:ext cx="128" cy="131"/>
            </a:xfrm>
            <a:custGeom>
              <a:avLst/>
              <a:gdLst>
                <a:gd name="T0" fmla="*/ 0 w 268"/>
                <a:gd name="T1" fmla="*/ 212 h 272"/>
                <a:gd name="T2" fmla="*/ 124 w 268"/>
                <a:gd name="T3" fmla="*/ 272 h 272"/>
                <a:gd name="T4" fmla="*/ 268 w 268"/>
                <a:gd name="T5" fmla="*/ 119 h 272"/>
                <a:gd name="T6" fmla="*/ 0 w 268"/>
                <a:gd name="T7" fmla="*/ 0 h 272"/>
                <a:gd name="T8" fmla="*/ 0 w 268"/>
                <a:gd name="T9" fmla="*/ 21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272">
                  <a:moveTo>
                    <a:pt x="0" y="212"/>
                  </a:moveTo>
                  <a:lnTo>
                    <a:pt x="124" y="272"/>
                  </a:lnTo>
                  <a:lnTo>
                    <a:pt x="268" y="119"/>
                  </a:lnTo>
                  <a:lnTo>
                    <a:pt x="0" y="0"/>
                  </a:lnTo>
                  <a:lnTo>
                    <a:pt x="0" y="2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8" name="Freeform 37">
              <a:extLst>
                <a:ext uri="{FF2B5EF4-FFF2-40B4-BE49-F238E27FC236}">
                  <a16:creationId xmlns:a16="http://schemas.microsoft.com/office/drawing/2014/main" id="{A80C04AE-2D37-77FE-C406-F466D6081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3" y="2317"/>
              <a:ext cx="134" cy="145"/>
            </a:xfrm>
            <a:custGeom>
              <a:avLst/>
              <a:gdLst>
                <a:gd name="T0" fmla="*/ 279 w 279"/>
                <a:gd name="T1" fmla="*/ 73 h 301"/>
                <a:gd name="T2" fmla="*/ 125 w 279"/>
                <a:gd name="T3" fmla="*/ 0 h 301"/>
                <a:gd name="T4" fmla="*/ 0 w 279"/>
                <a:gd name="T5" fmla="*/ 140 h 301"/>
                <a:gd name="T6" fmla="*/ 279 w 279"/>
                <a:gd name="T7" fmla="*/ 301 h 301"/>
                <a:gd name="T8" fmla="*/ 279 w 279"/>
                <a:gd name="T9" fmla="*/ 73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301">
                  <a:moveTo>
                    <a:pt x="279" y="73"/>
                  </a:moveTo>
                  <a:lnTo>
                    <a:pt x="125" y="0"/>
                  </a:lnTo>
                  <a:lnTo>
                    <a:pt x="0" y="140"/>
                  </a:lnTo>
                  <a:lnTo>
                    <a:pt x="279" y="301"/>
                  </a:lnTo>
                  <a:lnTo>
                    <a:pt x="279" y="7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" name="Freeform 38">
              <a:extLst>
                <a:ext uri="{FF2B5EF4-FFF2-40B4-BE49-F238E27FC236}">
                  <a16:creationId xmlns:a16="http://schemas.microsoft.com/office/drawing/2014/main" id="{3174B1CA-E590-1B53-4303-B5D4E31F5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" y="2187"/>
              <a:ext cx="52" cy="175"/>
            </a:xfrm>
            <a:custGeom>
              <a:avLst/>
              <a:gdLst>
                <a:gd name="T0" fmla="*/ 1 w 108"/>
                <a:gd name="T1" fmla="*/ 0 h 364"/>
                <a:gd name="T2" fmla="*/ 0 w 108"/>
                <a:gd name="T3" fmla="*/ 364 h 364"/>
                <a:gd name="T4" fmla="*/ 108 w 108"/>
                <a:gd name="T5" fmla="*/ 244 h 364"/>
                <a:gd name="T6" fmla="*/ 1 w 108"/>
                <a:gd name="T7" fmla="*/ 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364">
                  <a:moveTo>
                    <a:pt x="1" y="0"/>
                  </a:moveTo>
                  <a:lnTo>
                    <a:pt x="0" y="364"/>
                  </a:lnTo>
                  <a:lnTo>
                    <a:pt x="108" y="24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0" name="Freeform 39">
              <a:extLst>
                <a:ext uri="{FF2B5EF4-FFF2-40B4-BE49-F238E27FC236}">
                  <a16:creationId xmlns:a16="http://schemas.microsoft.com/office/drawing/2014/main" id="{14ADF0F9-8603-C112-9417-A08B2FC39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5" y="2178"/>
              <a:ext cx="122" cy="155"/>
            </a:xfrm>
            <a:custGeom>
              <a:avLst/>
              <a:gdLst>
                <a:gd name="T0" fmla="*/ 254 w 254"/>
                <a:gd name="T1" fmla="*/ 324 h 324"/>
                <a:gd name="T2" fmla="*/ 254 w 254"/>
                <a:gd name="T3" fmla="*/ 113 h 324"/>
                <a:gd name="T4" fmla="*/ 0 w 254"/>
                <a:gd name="T5" fmla="*/ 0 h 324"/>
                <a:gd name="T6" fmla="*/ 112 w 254"/>
                <a:gd name="T7" fmla="*/ 256 h 324"/>
                <a:gd name="T8" fmla="*/ 254 w 254"/>
                <a:gd name="T9" fmla="*/ 32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324">
                  <a:moveTo>
                    <a:pt x="254" y="324"/>
                  </a:moveTo>
                  <a:lnTo>
                    <a:pt x="254" y="113"/>
                  </a:lnTo>
                  <a:lnTo>
                    <a:pt x="0" y="0"/>
                  </a:lnTo>
                  <a:lnTo>
                    <a:pt x="112" y="256"/>
                  </a:lnTo>
                  <a:lnTo>
                    <a:pt x="254" y="3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1" name="Freeform 40">
              <a:extLst>
                <a:ext uri="{FF2B5EF4-FFF2-40B4-BE49-F238E27FC236}">
                  <a16:creationId xmlns:a16="http://schemas.microsoft.com/office/drawing/2014/main" id="{479E5E6F-F79D-DE1A-B167-17AF5F7A8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0" y="2171"/>
              <a:ext cx="291" cy="379"/>
            </a:xfrm>
            <a:custGeom>
              <a:avLst/>
              <a:gdLst>
                <a:gd name="T0" fmla="*/ 0 w 606"/>
                <a:gd name="T1" fmla="*/ 269 h 789"/>
                <a:gd name="T2" fmla="*/ 0 w 606"/>
                <a:gd name="T3" fmla="*/ 789 h 789"/>
                <a:gd name="T4" fmla="*/ 606 w 606"/>
                <a:gd name="T5" fmla="*/ 438 h 789"/>
                <a:gd name="T6" fmla="*/ 605 w 606"/>
                <a:gd name="T7" fmla="*/ 0 h 789"/>
                <a:gd name="T8" fmla="*/ 0 w 606"/>
                <a:gd name="T9" fmla="*/ 269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6" h="789">
                  <a:moveTo>
                    <a:pt x="0" y="269"/>
                  </a:moveTo>
                  <a:lnTo>
                    <a:pt x="0" y="789"/>
                  </a:lnTo>
                  <a:lnTo>
                    <a:pt x="606" y="438"/>
                  </a:lnTo>
                  <a:lnTo>
                    <a:pt x="605" y="0"/>
                  </a:lnTo>
                  <a:lnTo>
                    <a:pt x="0" y="26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2" name="Freeform 41">
              <a:extLst>
                <a:ext uri="{FF2B5EF4-FFF2-40B4-BE49-F238E27FC236}">
                  <a16:creationId xmlns:a16="http://schemas.microsoft.com/office/drawing/2014/main" id="{93B9C8F2-F351-1EE0-C93A-01EF70BF54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7" y="2104"/>
              <a:ext cx="422" cy="181"/>
            </a:xfrm>
            <a:custGeom>
              <a:avLst/>
              <a:gdLst>
                <a:gd name="T0" fmla="*/ 591 w 879"/>
                <a:gd name="T1" fmla="*/ 0 h 378"/>
                <a:gd name="T2" fmla="*/ 0 w 879"/>
                <a:gd name="T3" fmla="*/ 255 h 378"/>
                <a:gd name="T4" fmla="*/ 278 w 879"/>
                <a:gd name="T5" fmla="*/ 378 h 378"/>
                <a:gd name="T6" fmla="*/ 879 w 879"/>
                <a:gd name="T7" fmla="*/ 111 h 378"/>
                <a:gd name="T8" fmla="*/ 591 w 879"/>
                <a:gd name="T9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9" h="378">
                  <a:moveTo>
                    <a:pt x="591" y="0"/>
                  </a:moveTo>
                  <a:lnTo>
                    <a:pt x="0" y="255"/>
                  </a:lnTo>
                  <a:lnTo>
                    <a:pt x="278" y="378"/>
                  </a:lnTo>
                  <a:lnTo>
                    <a:pt x="879" y="111"/>
                  </a:lnTo>
                  <a:lnTo>
                    <a:pt x="5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Freeform 42">
              <a:extLst>
                <a:ext uri="{FF2B5EF4-FFF2-40B4-BE49-F238E27FC236}">
                  <a16:creationId xmlns:a16="http://schemas.microsoft.com/office/drawing/2014/main" id="{AE4402B6-963B-FC46-4EB6-355CBA7D3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7" y="2314"/>
              <a:ext cx="64" cy="209"/>
            </a:xfrm>
            <a:custGeom>
              <a:avLst/>
              <a:gdLst>
                <a:gd name="T0" fmla="*/ 135 w 135"/>
                <a:gd name="T1" fmla="*/ 0 h 435"/>
                <a:gd name="T2" fmla="*/ 0 w 135"/>
                <a:gd name="T3" fmla="*/ 142 h 435"/>
                <a:gd name="T4" fmla="*/ 135 w 135"/>
                <a:gd name="T5" fmla="*/ 435 h 435"/>
                <a:gd name="T6" fmla="*/ 135 w 135"/>
                <a:gd name="T7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435">
                  <a:moveTo>
                    <a:pt x="135" y="0"/>
                  </a:moveTo>
                  <a:lnTo>
                    <a:pt x="0" y="142"/>
                  </a:lnTo>
                  <a:lnTo>
                    <a:pt x="135" y="435"/>
                  </a:lnTo>
                  <a:lnTo>
                    <a:pt x="13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4" name="Freeform 43">
              <a:extLst>
                <a:ext uri="{FF2B5EF4-FFF2-40B4-BE49-F238E27FC236}">
                  <a16:creationId xmlns:a16="http://schemas.microsoft.com/office/drawing/2014/main" id="{623A5EC5-E16B-0067-DEFB-F7E597F88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5" y="2361"/>
              <a:ext cx="128" cy="185"/>
            </a:xfrm>
            <a:custGeom>
              <a:avLst/>
              <a:gdLst>
                <a:gd name="T0" fmla="*/ 0 w 267"/>
                <a:gd name="T1" fmla="*/ 231 h 386"/>
                <a:gd name="T2" fmla="*/ 267 w 267"/>
                <a:gd name="T3" fmla="*/ 386 h 386"/>
                <a:gd name="T4" fmla="*/ 115 w 267"/>
                <a:gd name="T5" fmla="*/ 55 h 386"/>
                <a:gd name="T6" fmla="*/ 0 w 267"/>
                <a:gd name="T7" fmla="*/ 0 h 386"/>
                <a:gd name="T8" fmla="*/ 0 w 267"/>
                <a:gd name="T9" fmla="*/ 231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386">
                  <a:moveTo>
                    <a:pt x="0" y="231"/>
                  </a:moveTo>
                  <a:lnTo>
                    <a:pt x="267" y="386"/>
                  </a:lnTo>
                  <a:lnTo>
                    <a:pt x="115" y="55"/>
                  </a:lnTo>
                  <a:lnTo>
                    <a:pt x="0" y="0"/>
                  </a:lnTo>
                  <a:lnTo>
                    <a:pt x="0" y="2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37" name="Mail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8ABB48E-D1A6-1EF3-9941-4D488A4137F3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4908707" y="5259761"/>
            <a:ext cx="834881" cy="542925"/>
            <a:chOff x="2478" y="1261"/>
            <a:chExt cx="2648" cy="1722"/>
          </a:xfrm>
          <a:solidFill>
            <a:schemeClr val="bg1"/>
          </a:solidFill>
        </p:grpSpPr>
        <p:sp>
          <p:nvSpPr>
            <p:cNvPr id="138" name="Freeform 336">
              <a:extLst>
                <a:ext uri="{FF2B5EF4-FFF2-40B4-BE49-F238E27FC236}">
                  <a16:creationId xmlns:a16="http://schemas.microsoft.com/office/drawing/2014/main" id="{A1D3CD5D-51A7-41C1-A827-C73585BB1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5" y="1388"/>
              <a:ext cx="981" cy="1464"/>
            </a:xfrm>
            <a:custGeom>
              <a:avLst/>
              <a:gdLst>
                <a:gd name="T0" fmla="*/ 241 w 247"/>
                <a:gd name="T1" fmla="*/ 4 h 368"/>
                <a:gd name="T2" fmla="*/ 239 w 247"/>
                <a:gd name="T3" fmla="*/ 5 h 368"/>
                <a:gd name="T4" fmla="*/ 0 w 247"/>
                <a:gd name="T5" fmla="*/ 184 h 368"/>
                <a:gd name="T6" fmla="*/ 241 w 247"/>
                <a:gd name="T7" fmla="*/ 365 h 368"/>
                <a:gd name="T8" fmla="*/ 244 w 247"/>
                <a:gd name="T9" fmla="*/ 368 h 368"/>
                <a:gd name="T10" fmla="*/ 247 w 247"/>
                <a:gd name="T11" fmla="*/ 351 h 368"/>
                <a:gd name="T12" fmla="*/ 247 w 247"/>
                <a:gd name="T13" fmla="*/ 18 h 368"/>
                <a:gd name="T14" fmla="*/ 244 w 247"/>
                <a:gd name="T15" fmla="*/ 0 h 368"/>
                <a:gd name="T16" fmla="*/ 241 w 247"/>
                <a:gd name="T17" fmla="*/ 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7" h="368">
                  <a:moveTo>
                    <a:pt x="241" y="4"/>
                  </a:moveTo>
                  <a:lnTo>
                    <a:pt x="239" y="5"/>
                  </a:lnTo>
                  <a:lnTo>
                    <a:pt x="0" y="184"/>
                  </a:lnTo>
                  <a:lnTo>
                    <a:pt x="241" y="365"/>
                  </a:lnTo>
                  <a:cubicBezTo>
                    <a:pt x="242" y="366"/>
                    <a:pt x="243" y="367"/>
                    <a:pt x="244" y="368"/>
                  </a:cubicBezTo>
                  <a:cubicBezTo>
                    <a:pt x="246" y="363"/>
                    <a:pt x="247" y="357"/>
                    <a:pt x="247" y="351"/>
                  </a:cubicBezTo>
                  <a:lnTo>
                    <a:pt x="247" y="18"/>
                  </a:lnTo>
                  <a:cubicBezTo>
                    <a:pt x="247" y="12"/>
                    <a:pt x="246" y="6"/>
                    <a:pt x="244" y="0"/>
                  </a:cubicBezTo>
                  <a:cubicBezTo>
                    <a:pt x="243" y="1"/>
                    <a:pt x="242" y="3"/>
                    <a:pt x="241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9" name="Freeform 337">
              <a:extLst>
                <a:ext uri="{FF2B5EF4-FFF2-40B4-BE49-F238E27FC236}">
                  <a16:creationId xmlns:a16="http://schemas.microsoft.com/office/drawing/2014/main" id="{EE9C93DE-AA8C-0BF5-0633-0746CA9E7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" y="2203"/>
              <a:ext cx="2394" cy="780"/>
            </a:xfrm>
            <a:custGeom>
              <a:avLst/>
              <a:gdLst>
                <a:gd name="T0" fmla="*/ 301 w 603"/>
                <a:gd name="T1" fmla="*/ 20 h 196"/>
                <a:gd name="T2" fmla="*/ 242 w 603"/>
                <a:gd name="T3" fmla="*/ 0 h 196"/>
                <a:gd name="T4" fmla="*/ 0 w 603"/>
                <a:gd name="T5" fmla="*/ 182 h 196"/>
                <a:gd name="T6" fmla="*/ 35 w 603"/>
                <a:gd name="T7" fmla="*/ 196 h 196"/>
                <a:gd name="T8" fmla="*/ 568 w 603"/>
                <a:gd name="T9" fmla="*/ 196 h 196"/>
                <a:gd name="T10" fmla="*/ 603 w 603"/>
                <a:gd name="T11" fmla="*/ 182 h 196"/>
                <a:gd name="T12" fmla="*/ 360 w 603"/>
                <a:gd name="T13" fmla="*/ 0 h 196"/>
                <a:gd name="T14" fmla="*/ 301 w 603"/>
                <a:gd name="T15" fmla="*/ 2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3" h="196">
                  <a:moveTo>
                    <a:pt x="301" y="20"/>
                  </a:moveTo>
                  <a:cubicBezTo>
                    <a:pt x="280" y="20"/>
                    <a:pt x="259" y="13"/>
                    <a:pt x="242" y="0"/>
                  </a:cubicBezTo>
                  <a:lnTo>
                    <a:pt x="0" y="182"/>
                  </a:lnTo>
                  <a:cubicBezTo>
                    <a:pt x="9" y="191"/>
                    <a:pt x="21" y="196"/>
                    <a:pt x="35" y="196"/>
                  </a:cubicBezTo>
                  <a:lnTo>
                    <a:pt x="568" y="196"/>
                  </a:lnTo>
                  <a:cubicBezTo>
                    <a:pt x="581" y="196"/>
                    <a:pt x="594" y="191"/>
                    <a:pt x="603" y="182"/>
                  </a:cubicBezTo>
                  <a:lnTo>
                    <a:pt x="360" y="0"/>
                  </a:lnTo>
                  <a:cubicBezTo>
                    <a:pt x="343" y="13"/>
                    <a:pt x="323" y="20"/>
                    <a:pt x="301" y="2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0" name="Freeform 338">
              <a:extLst>
                <a:ext uri="{FF2B5EF4-FFF2-40B4-BE49-F238E27FC236}">
                  <a16:creationId xmlns:a16="http://schemas.microsoft.com/office/drawing/2014/main" id="{54E03133-2D24-BC90-139B-24ED7DF3F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388"/>
              <a:ext cx="981" cy="1464"/>
            </a:xfrm>
            <a:custGeom>
              <a:avLst/>
              <a:gdLst>
                <a:gd name="T0" fmla="*/ 6 w 247"/>
                <a:gd name="T1" fmla="*/ 4 h 368"/>
                <a:gd name="T2" fmla="*/ 3 w 247"/>
                <a:gd name="T3" fmla="*/ 0 h 368"/>
                <a:gd name="T4" fmla="*/ 0 w 247"/>
                <a:gd name="T5" fmla="*/ 18 h 368"/>
                <a:gd name="T6" fmla="*/ 0 w 247"/>
                <a:gd name="T7" fmla="*/ 351 h 368"/>
                <a:gd name="T8" fmla="*/ 3 w 247"/>
                <a:gd name="T9" fmla="*/ 368 h 368"/>
                <a:gd name="T10" fmla="*/ 6 w 247"/>
                <a:gd name="T11" fmla="*/ 365 h 368"/>
                <a:gd name="T12" fmla="*/ 8 w 247"/>
                <a:gd name="T13" fmla="*/ 363 h 368"/>
                <a:gd name="T14" fmla="*/ 247 w 247"/>
                <a:gd name="T15" fmla="*/ 184 h 368"/>
                <a:gd name="T16" fmla="*/ 6 w 247"/>
                <a:gd name="T17" fmla="*/ 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7" h="368">
                  <a:moveTo>
                    <a:pt x="6" y="4"/>
                  </a:moveTo>
                  <a:cubicBezTo>
                    <a:pt x="5" y="3"/>
                    <a:pt x="4" y="1"/>
                    <a:pt x="3" y="0"/>
                  </a:cubicBezTo>
                  <a:cubicBezTo>
                    <a:pt x="1" y="6"/>
                    <a:pt x="0" y="12"/>
                    <a:pt x="0" y="18"/>
                  </a:cubicBezTo>
                  <a:lnTo>
                    <a:pt x="0" y="351"/>
                  </a:lnTo>
                  <a:cubicBezTo>
                    <a:pt x="0" y="357"/>
                    <a:pt x="1" y="363"/>
                    <a:pt x="3" y="368"/>
                  </a:cubicBezTo>
                  <a:cubicBezTo>
                    <a:pt x="4" y="367"/>
                    <a:pt x="5" y="366"/>
                    <a:pt x="6" y="365"/>
                  </a:cubicBezTo>
                  <a:lnTo>
                    <a:pt x="8" y="363"/>
                  </a:lnTo>
                  <a:lnTo>
                    <a:pt x="247" y="184"/>
                  </a:lnTo>
                  <a:lnTo>
                    <a:pt x="6" y="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1" name="Freeform 339">
              <a:extLst>
                <a:ext uri="{FF2B5EF4-FFF2-40B4-BE49-F238E27FC236}">
                  <a16:creationId xmlns:a16="http://schemas.microsoft.com/office/drawing/2014/main" id="{61A4EE6A-7E16-B5C8-D793-BAB219651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" y="1261"/>
              <a:ext cx="2394" cy="887"/>
            </a:xfrm>
            <a:custGeom>
              <a:avLst/>
              <a:gdLst>
                <a:gd name="T0" fmla="*/ 301 w 603"/>
                <a:gd name="T1" fmla="*/ 223 h 223"/>
                <a:gd name="T2" fmla="*/ 348 w 603"/>
                <a:gd name="T3" fmla="*/ 204 h 223"/>
                <a:gd name="T4" fmla="*/ 350 w 603"/>
                <a:gd name="T5" fmla="*/ 203 h 223"/>
                <a:gd name="T6" fmla="*/ 603 w 603"/>
                <a:gd name="T7" fmla="*/ 14 h 223"/>
                <a:gd name="T8" fmla="*/ 568 w 603"/>
                <a:gd name="T9" fmla="*/ 0 h 223"/>
                <a:gd name="T10" fmla="*/ 35 w 603"/>
                <a:gd name="T11" fmla="*/ 0 h 223"/>
                <a:gd name="T12" fmla="*/ 0 w 603"/>
                <a:gd name="T13" fmla="*/ 14 h 223"/>
                <a:gd name="T14" fmla="*/ 254 w 603"/>
                <a:gd name="T15" fmla="*/ 204 h 223"/>
                <a:gd name="T16" fmla="*/ 301 w 603"/>
                <a:gd name="T17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3" h="223">
                  <a:moveTo>
                    <a:pt x="301" y="223"/>
                  </a:moveTo>
                  <a:cubicBezTo>
                    <a:pt x="319" y="223"/>
                    <a:pt x="336" y="217"/>
                    <a:pt x="348" y="204"/>
                  </a:cubicBezTo>
                  <a:lnTo>
                    <a:pt x="350" y="203"/>
                  </a:lnTo>
                  <a:lnTo>
                    <a:pt x="603" y="14"/>
                  </a:lnTo>
                  <a:cubicBezTo>
                    <a:pt x="594" y="5"/>
                    <a:pt x="581" y="0"/>
                    <a:pt x="568" y="0"/>
                  </a:cubicBezTo>
                  <a:lnTo>
                    <a:pt x="35" y="0"/>
                  </a:lnTo>
                  <a:cubicBezTo>
                    <a:pt x="21" y="0"/>
                    <a:pt x="9" y="5"/>
                    <a:pt x="0" y="14"/>
                  </a:cubicBezTo>
                  <a:lnTo>
                    <a:pt x="254" y="204"/>
                  </a:lnTo>
                  <a:cubicBezTo>
                    <a:pt x="267" y="217"/>
                    <a:pt x="283" y="223"/>
                    <a:pt x="301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42" name="Class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25E10D1-44FB-0581-CB13-3FB56C638939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6493919" y="1730798"/>
            <a:ext cx="634558" cy="542925"/>
            <a:chOff x="8562976" y="5951538"/>
            <a:chExt cx="879475" cy="752475"/>
          </a:xfrm>
          <a:solidFill>
            <a:schemeClr val="bg1"/>
          </a:solidFill>
        </p:grpSpPr>
        <p:sp>
          <p:nvSpPr>
            <p:cNvPr id="143" name="Freeform 216">
              <a:extLst>
                <a:ext uri="{FF2B5EF4-FFF2-40B4-BE49-F238E27FC236}">
                  <a16:creationId xmlns:a16="http://schemas.microsoft.com/office/drawing/2014/main" id="{EFE7777B-DAE5-5A76-575A-D8B57905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2426" y="6080125"/>
              <a:ext cx="141288" cy="38100"/>
            </a:xfrm>
            <a:custGeom>
              <a:avLst/>
              <a:gdLst>
                <a:gd name="T0" fmla="*/ 0 w 186"/>
                <a:gd name="T1" fmla="*/ 50 h 50"/>
                <a:gd name="T2" fmla="*/ 186 w 186"/>
                <a:gd name="T3" fmla="*/ 50 h 50"/>
                <a:gd name="T4" fmla="*/ 186 w 186"/>
                <a:gd name="T5" fmla="*/ 0 h 50"/>
                <a:gd name="T6" fmla="*/ 3 w 186"/>
                <a:gd name="T7" fmla="*/ 0 h 50"/>
                <a:gd name="T8" fmla="*/ 5 w 186"/>
                <a:gd name="T9" fmla="*/ 30 h 50"/>
                <a:gd name="T10" fmla="*/ 0 w 186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" h="50">
                  <a:moveTo>
                    <a:pt x="0" y="50"/>
                  </a:moveTo>
                  <a:lnTo>
                    <a:pt x="186" y="50"/>
                  </a:lnTo>
                  <a:lnTo>
                    <a:pt x="186" y="0"/>
                  </a:lnTo>
                  <a:lnTo>
                    <a:pt x="3" y="0"/>
                  </a:lnTo>
                  <a:cubicBezTo>
                    <a:pt x="5" y="9"/>
                    <a:pt x="6" y="20"/>
                    <a:pt x="5" y="30"/>
                  </a:cubicBezTo>
                  <a:cubicBezTo>
                    <a:pt x="4" y="37"/>
                    <a:pt x="2" y="43"/>
                    <a:pt x="0" y="5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reeform 217">
              <a:extLst>
                <a:ext uri="{FF2B5EF4-FFF2-40B4-BE49-F238E27FC236}">
                  <a16:creationId xmlns:a16="http://schemas.microsoft.com/office/drawing/2014/main" id="{848391CE-7758-DB05-A801-5C8EF814E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4588" y="6011863"/>
              <a:ext cx="458788" cy="357188"/>
            </a:xfrm>
            <a:custGeom>
              <a:avLst/>
              <a:gdLst>
                <a:gd name="T0" fmla="*/ 119 w 601"/>
                <a:gd name="T1" fmla="*/ 301 h 469"/>
                <a:gd name="T2" fmla="*/ 269 w 601"/>
                <a:gd name="T3" fmla="*/ 451 h 469"/>
                <a:gd name="T4" fmla="*/ 267 w 601"/>
                <a:gd name="T5" fmla="*/ 469 h 469"/>
                <a:gd name="T6" fmla="*/ 317 w 601"/>
                <a:gd name="T7" fmla="*/ 462 h 469"/>
                <a:gd name="T8" fmla="*/ 317 w 601"/>
                <a:gd name="T9" fmla="*/ 276 h 469"/>
                <a:gd name="T10" fmla="*/ 569 w 601"/>
                <a:gd name="T11" fmla="*/ 151 h 469"/>
                <a:gd name="T12" fmla="*/ 581 w 601"/>
                <a:gd name="T13" fmla="*/ 78 h 469"/>
                <a:gd name="T14" fmla="*/ 596 w 601"/>
                <a:gd name="T15" fmla="*/ 37 h 469"/>
                <a:gd name="T16" fmla="*/ 581 w 601"/>
                <a:gd name="T17" fmla="*/ 5 h 469"/>
                <a:gd name="T18" fmla="*/ 549 w 601"/>
                <a:gd name="T19" fmla="*/ 20 h 469"/>
                <a:gd name="T20" fmla="*/ 536 w 601"/>
                <a:gd name="T21" fmla="*/ 56 h 469"/>
                <a:gd name="T22" fmla="*/ 519 w 601"/>
                <a:gd name="T23" fmla="*/ 60 h 469"/>
                <a:gd name="T24" fmla="*/ 254 w 601"/>
                <a:gd name="T25" fmla="*/ 152 h 469"/>
                <a:gd name="T26" fmla="*/ 186 w 601"/>
                <a:gd name="T27" fmla="*/ 208 h 469"/>
                <a:gd name="T28" fmla="*/ 118 w 601"/>
                <a:gd name="T29" fmla="*/ 157 h 469"/>
                <a:gd name="T30" fmla="*/ 0 w 601"/>
                <a:gd name="T31" fmla="*/ 300 h 469"/>
                <a:gd name="T32" fmla="*/ 0 w 601"/>
                <a:gd name="T33" fmla="*/ 361 h 469"/>
                <a:gd name="T34" fmla="*/ 119 w 601"/>
                <a:gd name="T35" fmla="*/ 301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1" h="469">
                  <a:moveTo>
                    <a:pt x="119" y="301"/>
                  </a:moveTo>
                  <a:cubicBezTo>
                    <a:pt x="201" y="301"/>
                    <a:pt x="269" y="369"/>
                    <a:pt x="269" y="451"/>
                  </a:cubicBezTo>
                  <a:cubicBezTo>
                    <a:pt x="269" y="457"/>
                    <a:pt x="268" y="463"/>
                    <a:pt x="267" y="469"/>
                  </a:cubicBezTo>
                  <a:cubicBezTo>
                    <a:pt x="282" y="464"/>
                    <a:pt x="299" y="462"/>
                    <a:pt x="317" y="462"/>
                  </a:cubicBezTo>
                  <a:lnTo>
                    <a:pt x="317" y="276"/>
                  </a:lnTo>
                  <a:cubicBezTo>
                    <a:pt x="420" y="242"/>
                    <a:pt x="511" y="194"/>
                    <a:pt x="569" y="151"/>
                  </a:cubicBezTo>
                  <a:cubicBezTo>
                    <a:pt x="592" y="133"/>
                    <a:pt x="597" y="103"/>
                    <a:pt x="581" y="78"/>
                  </a:cubicBezTo>
                  <a:lnTo>
                    <a:pt x="596" y="37"/>
                  </a:lnTo>
                  <a:cubicBezTo>
                    <a:pt x="601" y="24"/>
                    <a:pt x="594" y="10"/>
                    <a:pt x="581" y="5"/>
                  </a:cubicBezTo>
                  <a:cubicBezTo>
                    <a:pt x="568" y="0"/>
                    <a:pt x="554" y="7"/>
                    <a:pt x="549" y="20"/>
                  </a:cubicBezTo>
                  <a:lnTo>
                    <a:pt x="536" y="56"/>
                  </a:lnTo>
                  <a:cubicBezTo>
                    <a:pt x="530" y="56"/>
                    <a:pt x="524" y="57"/>
                    <a:pt x="519" y="60"/>
                  </a:cubicBezTo>
                  <a:cubicBezTo>
                    <a:pt x="399" y="131"/>
                    <a:pt x="317" y="148"/>
                    <a:pt x="254" y="152"/>
                  </a:cubicBezTo>
                  <a:lnTo>
                    <a:pt x="186" y="208"/>
                  </a:lnTo>
                  <a:lnTo>
                    <a:pt x="118" y="157"/>
                  </a:lnTo>
                  <a:cubicBezTo>
                    <a:pt x="47" y="170"/>
                    <a:pt x="0" y="212"/>
                    <a:pt x="0" y="300"/>
                  </a:cubicBezTo>
                  <a:lnTo>
                    <a:pt x="0" y="361"/>
                  </a:lnTo>
                  <a:cubicBezTo>
                    <a:pt x="27" y="325"/>
                    <a:pt x="70" y="301"/>
                    <a:pt x="119" y="3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Oval 218">
              <a:extLst>
                <a:ext uri="{FF2B5EF4-FFF2-40B4-BE49-F238E27FC236}">
                  <a16:creationId xmlns:a16="http://schemas.microsoft.com/office/drawing/2014/main" id="{0876331D-15C4-B8CC-1DD8-5A5AD931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1738" y="5951538"/>
              <a:ext cx="163513" cy="1635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Rectangle 219">
              <a:extLst>
                <a:ext uri="{FF2B5EF4-FFF2-40B4-BE49-F238E27FC236}">
                  <a16:creationId xmlns:a16="http://schemas.microsoft.com/office/drawing/2014/main" id="{41D097C2-2C93-2171-8870-51629E8778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36051" y="5957888"/>
              <a:ext cx="347663" cy="381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reeform 220">
              <a:extLst>
                <a:ext uri="{FF2B5EF4-FFF2-40B4-BE49-F238E27FC236}">
                  <a16:creationId xmlns:a16="http://schemas.microsoft.com/office/drawing/2014/main" id="{8AC148FC-D9C5-D152-E156-33A5A922B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6851" y="6454775"/>
              <a:ext cx="136525" cy="153988"/>
            </a:xfrm>
            <a:custGeom>
              <a:avLst/>
              <a:gdLst>
                <a:gd name="T0" fmla="*/ 180 w 180"/>
                <a:gd name="T1" fmla="*/ 132 h 202"/>
                <a:gd name="T2" fmla="*/ 140 w 180"/>
                <a:gd name="T3" fmla="*/ 29 h 202"/>
                <a:gd name="T4" fmla="*/ 142 w 180"/>
                <a:gd name="T5" fmla="*/ 4 h 202"/>
                <a:gd name="T6" fmla="*/ 92 w 180"/>
                <a:gd name="T7" fmla="*/ 0 h 202"/>
                <a:gd name="T8" fmla="*/ 39 w 180"/>
                <a:gd name="T9" fmla="*/ 4 h 202"/>
                <a:gd name="T10" fmla="*/ 41 w 180"/>
                <a:gd name="T11" fmla="*/ 29 h 202"/>
                <a:gd name="T12" fmla="*/ 0 w 180"/>
                <a:gd name="T13" fmla="*/ 132 h 202"/>
                <a:gd name="T14" fmla="*/ 90 w 180"/>
                <a:gd name="T15" fmla="*/ 202 h 202"/>
                <a:gd name="T16" fmla="*/ 180 w 180"/>
                <a:gd name="T17" fmla="*/ 13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0" h="202">
                  <a:moveTo>
                    <a:pt x="180" y="132"/>
                  </a:moveTo>
                  <a:cubicBezTo>
                    <a:pt x="155" y="105"/>
                    <a:pt x="140" y="69"/>
                    <a:pt x="140" y="29"/>
                  </a:cubicBezTo>
                  <a:cubicBezTo>
                    <a:pt x="140" y="21"/>
                    <a:pt x="141" y="12"/>
                    <a:pt x="142" y="4"/>
                  </a:cubicBezTo>
                  <a:cubicBezTo>
                    <a:pt x="126" y="1"/>
                    <a:pt x="109" y="0"/>
                    <a:pt x="92" y="0"/>
                  </a:cubicBezTo>
                  <a:cubicBezTo>
                    <a:pt x="73" y="0"/>
                    <a:pt x="55" y="2"/>
                    <a:pt x="39" y="4"/>
                  </a:cubicBezTo>
                  <a:cubicBezTo>
                    <a:pt x="40" y="12"/>
                    <a:pt x="41" y="21"/>
                    <a:pt x="41" y="29"/>
                  </a:cubicBezTo>
                  <a:cubicBezTo>
                    <a:pt x="41" y="69"/>
                    <a:pt x="26" y="105"/>
                    <a:pt x="0" y="132"/>
                  </a:cubicBezTo>
                  <a:cubicBezTo>
                    <a:pt x="41" y="146"/>
                    <a:pt x="71" y="170"/>
                    <a:pt x="90" y="202"/>
                  </a:cubicBezTo>
                  <a:cubicBezTo>
                    <a:pt x="110" y="170"/>
                    <a:pt x="140" y="146"/>
                    <a:pt x="180" y="13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Oval 221">
              <a:extLst>
                <a:ext uri="{FF2B5EF4-FFF2-40B4-BE49-F238E27FC236}">
                  <a16:creationId xmlns:a16="http://schemas.microsoft.com/office/drawing/2014/main" id="{F3C92BD5-4E2F-704C-F51A-4940EDD4FE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7326" y="6276975"/>
              <a:ext cx="158750" cy="15716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reeform 222">
              <a:extLst>
                <a:ext uri="{FF2B5EF4-FFF2-40B4-BE49-F238E27FC236}">
                  <a16:creationId xmlns:a16="http://schemas.microsoft.com/office/drawing/2014/main" id="{C0B1D29B-4F1B-B0DF-994E-58625BB3C8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5701" y="6454775"/>
              <a:ext cx="144463" cy="158750"/>
            </a:xfrm>
            <a:custGeom>
              <a:avLst/>
              <a:gdLst>
                <a:gd name="T0" fmla="*/ 191 w 191"/>
                <a:gd name="T1" fmla="*/ 132 h 207"/>
                <a:gd name="T2" fmla="*/ 151 w 191"/>
                <a:gd name="T3" fmla="*/ 29 h 207"/>
                <a:gd name="T4" fmla="*/ 153 w 191"/>
                <a:gd name="T5" fmla="*/ 3 h 207"/>
                <a:gd name="T6" fmla="*/ 105 w 191"/>
                <a:gd name="T7" fmla="*/ 0 h 207"/>
                <a:gd name="T8" fmla="*/ 44 w 191"/>
                <a:gd name="T9" fmla="*/ 6 h 207"/>
                <a:gd name="T10" fmla="*/ 46 w 191"/>
                <a:gd name="T11" fmla="*/ 29 h 207"/>
                <a:gd name="T12" fmla="*/ 0 w 191"/>
                <a:gd name="T13" fmla="*/ 134 h 207"/>
                <a:gd name="T14" fmla="*/ 98 w 191"/>
                <a:gd name="T15" fmla="*/ 207 h 207"/>
                <a:gd name="T16" fmla="*/ 191 w 191"/>
                <a:gd name="T17" fmla="*/ 132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207">
                  <a:moveTo>
                    <a:pt x="191" y="132"/>
                  </a:moveTo>
                  <a:cubicBezTo>
                    <a:pt x="166" y="105"/>
                    <a:pt x="151" y="69"/>
                    <a:pt x="151" y="29"/>
                  </a:cubicBezTo>
                  <a:cubicBezTo>
                    <a:pt x="151" y="20"/>
                    <a:pt x="152" y="12"/>
                    <a:pt x="153" y="3"/>
                  </a:cubicBezTo>
                  <a:cubicBezTo>
                    <a:pt x="138" y="1"/>
                    <a:pt x="122" y="0"/>
                    <a:pt x="105" y="0"/>
                  </a:cubicBezTo>
                  <a:cubicBezTo>
                    <a:pt x="83" y="0"/>
                    <a:pt x="63" y="2"/>
                    <a:pt x="44" y="6"/>
                  </a:cubicBezTo>
                  <a:cubicBezTo>
                    <a:pt x="45" y="13"/>
                    <a:pt x="46" y="21"/>
                    <a:pt x="46" y="29"/>
                  </a:cubicBezTo>
                  <a:cubicBezTo>
                    <a:pt x="46" y="71"/>
                    <a:pt x="28" y="108"/>
                    <a:pt x="0" y="134"/>
                  </a:cubicBezTo>
                  <a:cubicBezTo>
                    <a:pt x="44" y="148"/>
                    <a:pt x="78" y="173"/>
                    <a:pt x="98" y="207"/>
                  </a:cubicBezTo>
                  <a:cubicBezTo>
                    <a:pt x="117" y="173"/>
                    <a:pt x="149" y="147"/>
                    <a:pt x="191" y="13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Oval 223">
              <a:extLst>
                <a:ext uri="{FF2B5EF4-FFF2-40B4-BE49-F238E27FC236}">
                  <a16:creationId xmlns:a16="http://schemas.microsoft.com/office/drawing/2014/main" id="{7505AA11-2A15-F04A-1A66-F7372FA93F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24926" y="6397625"/>
              <a:ext cx="158750" cy="1587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reeform 224">
              <a:extLst>
                <a:ext uri="{FF2B5EF4-FFF2-40B4-BE49-F238E27FC236}">
                  <a16:creationId xmlns:a16="http://schemas.microsoft.com/office/drawing/2014/main" id="{DB9CA96A-FF74-6A28-00CA-B842F3ACA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9363" y="6577013"/>
              <a:ext cx="269875" cy="127000"/>
            </a:xfrm>
            <a:custGeom>
              <a:avLst/>
              <a:gdLst>
                <a:gd name="T0" fmla="*/ 177 w 355"/>
                <a:gd name="T1" fmla="*/ 0 h 167"/>
                <a:gd name="T2" fmla="*/ 0 w 355"/>
                <a:gd name="T3" fmla="*/ 134 h 167"/>
                <a:gd name="T4" fmla="*/ 0 w 355"/>
                <a:gd name="T5" fmla="*/ 167 h 167"/>
                <a:gd name="T6" fmla="*/ 355 w 355"/>
                <a:gd name="T7" fmla="*/ 167 h 167"/>
                <a:gd name="T8" fmla="*/ 355 w 355"/>
                <a:gd name="T9" fmla="*/ 134 h 167"/>
                <a:gd name="T10" fmla="*/ 177 w 355"/>
                <a:gd name="T11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5" h="167">
                  <a:moveTo>
                    <a:pt x="177" y="0"/>
                  </a:moveTo>
                  <a:cubicBezTo>
                    <a:pt x="79" y="0"/>
                    <a:pt x="0" y="36"/>
                    <a:pt x="0" y="134"/>
                  </a:cubicBezTo>
                  <a:lnTo>
                    <a:pt x="0" y="167"/>
                  </a:lnTo>
                  <a:lnTo>
                    <a:pt x="355" y="167"/>
                  </a:lnTo>
                  <a:lnTo>
                    <a:pt x="355" y="134"/>
                  </a:lnTo>
                  <a:cubicBezTo>
                    <a:pt x="355" y="36"/>
                    <a:pt x="275" y="0"/>
                    <a:pt x="17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2" name="Oval 225">
              <a:extLst>
                <a:ext uri="{FF2B5EF4-FFF2-40B4-BE49-F238E27FC236}">
                  <a16:creationId xmlns:a16="http://schemas.microsoft.com/office/drawing/2014/main" id="{6C37F6F4-371D-4D5D-258D-96FB8A831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8538" y="6397625"/>
              <a:ext cx="158750" cy="1587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3" name="Freeform 226">
              <a:extLst>
                <a:ext uri="{FF2B5EF4-FFF2-40B4-BE49-F238E27FC236}">
                  <a16:creationId xmlns:a16="http://schemas.microsoft.com/office/drawing/2014/main" id="{95DD19B4-8A46-77D6-85B1-B959A8B19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976" y="6577013"/>
              <a:ext cx="269875" cy="127000"/>
            </a:xfrm>
            <a:custGeom>
              <a:avLst/>
              <a:gdLst>
                <a:gd name="T0" fmla="*/ 177 w 354"/>
                <a:gd name="T1" fmla="*/ 0 h 167"/>
                <a:gd name="T2" fmla="*/ 0 w 354"/>
                <a:gd name="T3" fmla="*/ 134 h 167"/>
                <a:gd name="T4" fmla="*/ 0 w 354"/>
                <a:gd name="T5" fmla="*/ 167 h 167"/>
                <a:gd name="T6" fmla="*/ 354 w 354"/>
                <a:gd name="T7" fmla="*/ 167 h 167"/>
                <a:gd name="T8" fmla="*/ 354 w 354"/>
                <a:gd name="T9" fmla="*/ 134 h 167"/>
                <a:gd name="T10" fmla="*/ 177 w 354"/>
                <a:gd name="T11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4" h="167">
                  <a:moveTo>
                    <a:pt x="177" y="0"/>
                  </a:moveTo>
                  <a:cubicBezTo>
                    <a:pt x="79" y="0"/>
                    <a:pt x="0" y="36"/>
                    <a:pt x="0" y="134"/>
                  </a:cubicBezTo>
                  <a:lnTo>
                    <a:pt x="0" y="167"/>
                  </a:lnTo>
                  <a:lnTo>
                    <a:pt x="354" y="167"/>
                  </a:lnTo>
                  <a:lnTo>
                    <a:pt x="354" y="134"/>
                  </a:lnTo>
                  <a:cubicBezTo>
                    <a:pt x="354" y="36"/>
                    <a:pt x="275" y="0"/>
                    <a:pt x="17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Oval 227">
              <a:extLst>
                <a:ext uri="{FF2B5EF4-FFF2-40B4-BE49-F238E27FC236}">
                  <a16:creationId xmlns:a16="http://schemas.microsoft.com/office/drawing/2014/main" id="{5C0F569D-AC6E-CA86-0095-D85967F1CD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8138" y="6397625"/>
              <a:ext cx="158750" cy="1587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Freeform 228">
              <a:extLst>
                <a:ext uri="{FF2B5EF4-FFF2-40B4-BE49-F238E27FC236}">
                  <a16:creationId xmlns:a16="http://schemas.microsoft.com/office/drawing/2014/main" id="{D93CDCFF-19DD-43D9-15AC-44F51B2F2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2576" y="6577013"/>
              <a:ext cx="269875" cy="127000"/>
            </a:xfrm>
            <a:custGeom>
              <a:avLst/>
              <a:gdLst>
                <a:gd name="T0" fmla="*/ 177 w 355"/>
                <a:gd name="T1" fmla="*/ 0 h 167"/>
                <a:gd name="T2" fmla="*/ 0 w 355"/>
                <a:gd name="T3" fmla="*/ 134 h 167"/>
                <a:gd name="T4" fmla="*/ 0 w 355"/>
                <a:gd name="T5" fmla="*/ 167 h 167"/>
                <a:gd name="T6" fmla="*/ 355 w 355"/>
                <a:gd name="T7" fmla="*/ 167 h 167"/>
                <a:gd name="T8" fmla="*/ 355 w 355"/>
                <a:gd name="T9" fmla="*/ 134 h 167"/>
                <a:gd name="T10" fmla="*/ 177 w 355"/>
                <a:gd name="T11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5" h="167">
                  <a:moveTo>
                    <a:pt x="177" y="0"/>
                  </a:moveTo>
                  <a:cubicBezTo>
                    <a:pt x="80" y="0"/>
                    <a:pt x="0" y="36"/>
                    <a:pt x="0" y="134"/>
                  </a:cubicBezTo>
                  <a:lnTo>
                    <a:pt x="0" y="167"/>
                  </a:lnTo>
                  <a:lnTo>
                    <a:pt x="355" y="167"/>
                  </a:lnTo>
                  <a:lnTo>
                    <a:pt x="355" y="134"/>
                  </a:lnTo>
                  <a:cubicBezTo>
                    <a:pt x="355" y="36"/>
                    <a:pt x="275" y="0"/>
                    <a:pt x="17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Oval 229">
              <a:extLst>
                <a:ext uri="{FF2B5EF4-FFF2-40B4-BE49-F238E27FC236}">
                  <a16:creationId xmlns:a16="http://schemas.microsoft.com/office/drawing/2014/main" id="{08C38486-2645-21F1-A3D5-B2BB75D513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5701" y="6276975"/>
              <a:ext cx="158750" cy="15716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8457" name="Box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BBCED76-69B9-4D83-7053-99140C10CAA0}"/>
              </a:ext>
            </a:extLst>
          </p:cNvPr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6575425" y="2932113"/>
            <a:ext cx="614363" cy="542925"/>
          </a:xfrm>
          <a:custGeom>
            <a:avLst/>
            <a:gdLst>
              <a:gd name="T0" fmla="*/ 2147483646 w 1250"/>
              <a:gd name="T1" fmla="*/ 2147483646 h 1104"/>
              <a:gd name="T2" fmla="*/ 2147483646 w 1250"/>
              <a:gd name="T3" fmla="*/ 2147483646 h 1104"/>
              <a:gd name="T4" fmla="*/ 2147483646 w 1250"/>
              <a:gd name="T5" fmla="*/ 2147483646 h 1104"/>
              <a:gd name="T6" fmla="*/ 2147483646 w 1250"/>
              <a:gd name="T7" fmla="*/ 2147483646 h 1104"/>
              <a:gd name="T8" fmla="*/ 2147483646 w 1250"/>
              <a:gd name="T9" fmla="*/ 2147483646 h 1104"/>
              <a:gd name="T10" fmla="*/ 0 w 1250"/>
              <a:gd name="T11" fmla="*/ 2147483646 h 1104"/>
              <a:gd name="T12" fmla="*/ 2147483646 w 1250"/>
              <a:gd name="T13" fmla="*/ 2147483646 h 1104"/>
              <a:gd name="T14" fmla="*/ 0 w 1250"/>
              <a:gd name="T15" fmla="*/ 2147483646 h 1104"/>
              <a:gd name="T16" fmla="*/ 2147483646 w 1250"/>
              <a:gd name="T17" fmla="*/ 2147483646 h 1104"/>
              <a:gd name="T18" fmla="*/ 2147483646 w 1250"/>
              <a:gd name="T19" fmla="*/ 2147483646 h 1104"/>
              <a:gd name="T20" fmla="*/ 2147483646 w 1250"/>
              <a:gd name="T21" fmla="*/ 2147483646 h 1104"/>
              <a:gd name="T22" fmla="*/ 2147483646 w 1250"/>
              <a:gd name="T23" fmla="*/ 2147483646 h 1104"/>
              <a:gd name="T24" fmla="*/ 2147483646 w 1250"/>
              <a:gd name="T25" fmla="*/ 2147483646 h 1104"/>
              <a:gd name="T26" fmla="*/ 2147483646 w 1250"/>
              <a:gd name="T27" fmla="*/ 2147483646 h 1104"/>
              <a:gd name="T28" fmla="*/ 2147483646 w 1250"/>
              <a:gd name="T29" fmla="*/ 2147483646 h 1104"/>
              <a:gd name="T30" fmla="*/ 2147483646 w 1250"/>
              <a:gd name="T31" fmla="*/ 2147483646 h 1104"/>
              <a:gd name="T32" fmla="*/ 2147483646 w 1250"/>
              <a:gd name="T33" fmla="*/ 2147483646 h 1104"/>
              <a:gd name="T34" fmla="*/ 2147483646 w 1250"/>
              <a:gd name="T35" fmla="*/ 2147483646 h 1104"/>
              <a:gd name="T36" fmla="*/ 2147483646 w 1250"/>
              <a:gd name="T37" fmla="*/ 2147483646 h 1104"/>
              <a:gd name="T38" fmla="*/ 2147483646 w 1250"/>
              <a:gd name="T39" fmla="*/ 2147483646 h 1104"/>
              <a:gd name="T40" fmla="*/ 2147483646 w 1250"/>
              <a:gd name="T41" fmla="*/ 2147483646 h 1104"/>
              <a:gd name="T42" fmla="*/ 2147483646 w 1250"/>
              <a:gd name="T43" fmla="*/ 2147483646 h 1104"/>
              <a:gd name="T44" fmla="*/ 2147483646 w 1250"/>
              <a:gd name="T45" fmla="*/ 2147483646 h 1104"/>
              <a:gd name="T46" fmla="*/ 2147483646 w 1250"/>
              <a:gd name="T47" fmla="*/ 2147483646 h 1104"/>
              <a:gd name="T48" fmla="*/ 2147483646 w 1250"/>
              <a:gd name="T49" fmla="*/ 2147483646 h 1104"/>
              <a:gd name="T50" fmla="*/ 2147483646 w 1250"/>
              <a:gd name="T51" fmla="*/ 2147483646 h 1104"/>
              <a:gd name="T52" fmla="*/ 2147483646 w 1250"/>
              <a:gd name="T53" fmla="*/ 2147483646 h 1104"/>
              <a:gd name="T54" fmla="*/ 2147483646 w 1250"/>
              <a:gd name="T55" fmla="*/ 2147483646 h 1104"/>
              <a:gd name="T56" fmla="*/ 2147483646 w 1250"/>
              <a:gd name="T57" fmla="*/ 2147483646 h 1104"/>
              <a:gd name="T58" fmla="*/ 2147483646 w 1250"/>
              <a:gd name="T59" fmla="*/ 2147483646 h 1104"/>
              <a:gd name="T60" fmla="*/ 2147483646 w 1250"/>
              <a:gd name="T61" fmla="*/ 2147483646 h 1104"/>
              <a:gd name="T62" fmla="*/ 2147483646 w 1250"/>
              <a:gd name="T63" fmla="*/ 2147483646 h 1104"/>
              <a:gd name="T64" fmla="*/ 2147483646 w 1250"/>
              <a:gd name="T65" fmla="*/ 2147483646 h 1104"/>
              <a:gd name="T66" fmla="*/ 2147483646 w 1250"/>
              <a:gd name="T67" fmla="*/ 2147483646 h 1104"/>
              <a:gd name="T68" fmla="*/ 2147483646 w 1250"/>
              <a:gd name="T69" fmla="*/ 2147483646 h 1104"/>
              <a:gd name="T70" fmla="*/ 2147483646 w 1250"/>
              <a:gd name="T71" fmla="*/ 2147483646 h 1104"/>
              <a:gd name="T72" fmla="*/ 2147483646 w 1250"/>
              <a:gd name="T73" fmla="*/ 2147483646 h 1104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50" h="1104">
                <a:moveTo>
                  <a:pt x="1243" y="473"/>
                </a:moveTo>
                <a:lnTo>
                  <a:pt x="1061" y="367"/>
                </a:lnTo>
                <a:lnTo>
                  <a:pt x="1243" y="262"/>
                </a:lnTo>
                <a:cubicBezTo>
                  <a:pt x="1247" y="259"/>
                  <a:pt x="1250" y="255"/>
                  <a:pt x="1250" y="250"/>
                </a:cubicBezTo>
                <a:cubicBezTo>
                  <a:pt x="1250" y="246"/>
                  <a:pt x="1247" y="241"/>
                  <a:pt x="1243" y="239"/>
                </a:cubicBezTo>
                <a:lnTo>
                  <a:pt x="833" y="2"/>
                </a:lnTo>
                <a:cubicBezTo>
                  <a:pt x="829" y="0"/>
                  <a:pt x="824" y="0"/>
                  <a:pt x="820" y="2"/>
                </a:cubicBezTo>
                <a:lnTo>
                  <a:pt x="625" y="115"/>
                </a:lnTo>
                <a:lnTo>
                  <a:pt x="430" y="2"/>
                </a:lnTo>
                <a:cubicBezTo>
                  <a:pt x="426" y="0"/>
                  <a:pt x="421" y="0"/>
                  <a:pt x="417" y="2"/>
                </a:cubicBezTo>
                <a:lnTo>
                  <a:pt x="7" y="239"/>
                </a:lnTo>
                <a:cubicBezTo>
                  <a:pt x="3" y="241"/>
                  <a:pt x="0" y="246"/>
                  <a:pt x="0" y="250"/>
                </a:cubicBezTo>
                <a:cubicBezTo>
                  <a:pt x="0" y="255"/>
                  <a:pt x="3" y="259"/>
                  <a:pt x="7" y="262"/>
                </a:cubicBezTo>
                <a:lnTo>
                  <a:pt x="189" y="367"/>
                </a:lnTo>
                <a:lnTo>
                  <a:pt x="7" y="473"/>
                </a:lnTo>
                <a:cubicBezTo>
                  <a:pt x="3" y="475"/>
                  <a:pt x="0" y="480"/>
                  <a:pt x="0" y="485"/>
                </a:cubicBezTo>
                <a:cubicBezTo>
                  <a:pt x="0" y="489"/>
                  <a:pt x="3" y="494"/>
                  <a:pt x="7" y="496"/>
                </a:cubicBezTo>
                <a:lnTo>
                  <a:pt x="202" y="609"/>
                </a:lnTo>
                <a:lnTo>
                  <a:pt x="202" y="854"/>
                </a:lnTo>
                <a:cubicBezTo>
                  <a:pt x="202" y="858"/>
                  <a:pt x="204" y="863"/>
                  <a:pt x="208" y="865"/>
                </a:cubicBezTo>
                <a:lnTo>
                  <a:pt x="618" y="1102"/>
                </a:lnTo>
                <a:cubicBezTo>
                  <a:pt x="619" y="1102"/>
                  <a:pt x="619" y="1102"/>
                  <a:pt x="619" y="1102"/>
                </a:cubicBezTo>
                <a:cubicBezTo>
                  <a:pt x="620" y="1102"/>
                  <a:pt x="620" y="1103"/>
                  <a:pt x="620" y="1103"/>
                </a:cubicBezTo>
                <a:cubicBezTo>
                  <a:pt x="622" y="1103"/>
                  <a:pt x="623" y="1104"/>
                  <a:pt x="625" y="1104"/>
                </a:cubicBezTo>
                <a:cubicBezTo>
                  <a:pt x="626" y="1104"/>
                  <a:pt x="628" y="1103"/>
                  <a:pt x="629" y="1103"/>
                </a:cubicBezTo>
                <a:cubicBezTo>
                  <a:pt x="630" y="1103"/>
                  <a:pt x="630" y="1102"/>
                  <a:pt x="631" y="1102"/>
                </a:cubicBezTo>
                <a:cubicBezTo>
                  <a:pt x="631" y="1102"/>
                  <a:pt x="631" y="1102"/>
                  <a:pt x="632" y="1102"/>
                </a:cubicBezTo>
                <a:lnTo>
                  <a:pt x="1042" y="865"/>
                </a:lnTo>
                <a:cubicBezTo>
                  <a:pt x="1046" y="863"/>
                  <a:pt x="1048" y="858"/>
                  <a:pt x="1048" y="854"/>
                </a:cubicBezTo>
                <a:lnTo>
                  <a:pt x="1048" y="609"/>
                </a:lnTo>
                <a:lnTo>
                  <a:pt x="1243" y="496"/>
                </a:lnTo>
                <a:cubicBezTo>
                  <a:pt x="1247" y="494"/>
                  <a:pt x="1250" y="489"/>
                  <a:pt x="1250" y="485"/>
                </a:cubicBezTo>
                <a:cubicBezTo>
                  <a:pt x="1250" y="480"/>
                  <a:pt x="1247" y="475"/>
                  <a:pt x="1243" y="473"/>
                </a:cubicBezTo>
                <a:close/>
                <a:moveTo>
                  <a:pt x="827" y="29"/>
                </a:moveTo>
                <a:lnTo>
                  <a:pt x="1210" y="250"/>
                </a:lnTo>
                <a:lnTo>
                  <a:pt x="1035" y="352"/>
                </a:lnTo>
                <a:lnTo>
                  <a:pt x="651" y="131"/>
                </a:lnTo>
                <a:lnTo>
                  <a:pt x="827" y="29"/>
                </a:lnTo>
                <a:close/>
                <a:moveTo>
                  <a:pt x="40" y="250"/>
                </a:moveTo>
                <a:lnTo>
                  <a:pt x="423" y="29"/>
                </a:lnTo>
                <a:lnTo>
                  <a:pt x="599" y="131"/>
                </a:lnTo>
                <a:lnTo>
                  <a:pt x="215" y="352"/>
                </a:lnTo>
                <a:lnTo>
                  <a:pt x="40" y="250"/>
                </a:lnTo>
                <a:close/>
                <a:moveTo>
                  <a:pt x="40" y="485"/>
                </a:moveTo>
                <a:lnTo>
                  <a:pt x="215" y="383"/>
                </a:lnTo>
                <a:lnTo>
                  <a:pt x="599" y="604"/>
                </a:lnTo>
                <a:lnTo>
                  <a:pt x="423" y="706"/>
                </a:lnTo>
                <a:lnTo>
                  <a:pt x="40" y="485"/>
                </a:lnTo>
                <a:close/>
                <a:moveTo>
                  <a:pt x="612" y="1067"/>
                </a:moveTo>
                <a:lnTo>
                  <a:pt x="228" y="846"/>
                </a:lnTo>
                <a:lnTo>
                  <a:pt x="228" y="624"/>
                </a:lnTo>
                <a:lnTo>
                  <a:pt x="417" y="733"/>
                </a:lnTo>
                <a:cubicBezTo>
                  <a:pt x="419" y="734"/>
                  <a:pt x="421" y="734"/>
                  <a:pt x="423" y="734"/>
                </a:cubicBezTo>
                <a:cubicBezTo>
                  <a:pt x="426" y="734"/>
                  <a:pt x="428" y="734"/>
                  <a:pt x="430" y="733"/>
                </a:cubicBezTo>
                <a:lnTo>
                  <a:pt x="612" y="627"/>
                </a:lnTo>
                <a:lnTo>
                  <a:pt x="612" y="1067"/>
                </a:lnTo>
                <a:close/>
                <a:moveTo>
                  <a:pt x="638" y="578"/>
                </a:moveTo>
                <a:cubicBezTo>
                  <a:pt x="638" y="585"/>
                  <a:pt x="632" y="591"/>
                  <a:pt x="625" y="591"/>
                </a:cubicBezTo>
                <a:cubicBezTo>
                  <a:pt x="618" y="591"/>
                  <a:pt x="612" y="585"/>
                  <a:pt x="612" y="578"/>
                </a:cubicBezTo>
                <a:lnTo>
                  <a:pt x="612" y="157"/>
                </a:lnTo>
                <a:cubicBezTo>
                  <a:pt x="612" y="150"/>
                  <a:pt x="618" y="144"/>
                  <a:pt x="625" y="144"/>
                </a:cubicBezTo>
                <a:cubicBezTo>
                  <a:pt x="632" y="144"/>
                  <a:pt x="638" y="150"/>
                  <a:pt x="638" y="157"/>
                </a:cubicBezTo>
                <a:lnTo>
                  <a:pt x="638" y="578"/>
                </a:lnTo>
                <a:close/>
                <a:moveTo>
                  <a:pt x="1022" y="846"/>
                </a:moveTo>
                <a:lnTo>
                  <a:pt x="638" y="1067"/>
                </a:lnTo>
                <a:lnTo>
                  <a:pt x="638" y="627"/>
                </a:lnTo>
                <a:lnTo>
                  <a:pt x="820" y="733"/>
                </a:lnTo>
                <a:cubicBezTo>
                  <a:pt x="824" y="735"/>
                  <a:pt x="829" y="735"/>
                  <a:pt x="833" y="733"/>
                </a:cubicBezTo>
                <a:lnTo>
                  <a:pt x="1022" y="624"/>
                </a:lnTo>
                <a:lnTo>
                  <a:pt x="1022" y="846"/>
                </a:lnTo>
                <a:close/>
                <a:moveTo>
                  <a:pt x="827" y="706"/>
                </a:moveTo>
                <a:lnTo>
                  <a:pt x="651" y="604"/>
                </a:lnTo>
                <a:lnTo>
                  <a:pt x="1035" y="383"/>
                </a:lnTo>
                <a:lnTo>
                  <a:pt x="1210" y="484"/>
                </a:lnTo>
                <a:lnTo>
                  <a:pt x="827" y="7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ZA"/>
          </a:p>
        </p:txBody>
      </p:sp>
      <p:grpSp>
        <p:nvGrpSpPr>
          <p:cNvPr id="166" name="Freigh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2365E48-6E78-E269-F6AE-13CCA753F789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6384412" y="5334815"/>
            <a:ext cx="945076" cy="437214"/>
            <a:chOff x="8162926" y="534988"/>
            <a:chExt cx="1125538" cy="520700"/>
          </a:xfrm>
          <a:solidFill>
            <a:schemeClr val="bg1"/>
          </a:solidFill>
        </p:grpSpPr>
        <p:sp>
          <p:nvSpPr>
            <p:cNvPr id="167" name="Freeform 210">
              <a:extLst>
                <a:ext uri="{FF2B5EF4-FFF2-40B4-BE49-F238E27FC236}">
                  <a16:creationId xmlns:a16="http://schemas.microsoft.com/office/drawing/2014/main" id="{E625C8C1-3F39-9BEB-5D6F-97D54D58D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1876" y="928688"/>
              <a:ext cx="127000" cy="127000"/>
            </a:xfrm>
            <a:custGeom>
              <a:avLst/>
              <a:gdLst>
                <a:gd name="T0" fmla="*/ 92 w 184"/>
                <a:gd name="T1" fmla="*/ 140 h 184"/>
                <a:gd name="T2" fmla="*/ 43 w 184"/>
                <a:gd name="T3" fmla="*/ 92 h 184"/>
                <a:gd name="T4" fmla="*/ 92 w 184"/>
                <a:gd name="T5" fmla="*/ 44 h 184"/>
                <a:gd name="T6" fmla="*/ 140 w 184"/>
                <a:gd name="T7" fmla="*/ 92 h 184"/>
                <a:gd name="T8" fmla="*/ 92 w 184"/>
                <a:gd name="T9" fmla="*/ 140 h 184"/>
                <a:gd name="T10" fmla="*/ 92 w 184"/>
                <a:gd name="T11" fmla="*/ 0 h 184"/>
                <a:gd name="T12" fmla="*/ 0 w 184"/>
                <a:gd name="T13" fmla="*/ 92 h 184"/>
                <a:gd name="T14" fmla="*/ 92 w 184"/>
                <a:gd name="T15" fmla="*/ 184 h 184"/>
                <a:gd name="T16" fmla="*/ 184 w 184"/>
                <a:gd name="T17" fmla="*/ 92 h 184"/>
                <a:gd name="T18" fmla="*/ 92 w 184"/>
                <a:gd name="T1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4" h="184">
                  <a:moveTo>
                    <a:pt x="92" y="140"/>
                  </a:moveTo>
                  <a:cubicBezTo>
                    <a:pt x="65" y="140"/>
                    <a:pt x="43" y="119"/>
                    <a:pt x="43" y="92"/>
                  </a:cubicBezTo>
                  <a:cubicBezTo>
                    <a:pt x="43" y="65"/>
                    <a:pt x="65" y="44"/>
                    <a:pt x="92" y="44"/>
                  </a:cubicBezTo>
                  <a:cubicBezTo>
                    <a:pt x="119" y="44"/>
                    <a:pt x="140" y="65"/>
                    <a:pt x="140" y="92"/>
                  </a:cubicBezTo>
                  <a:cubicBezTo>
                    <a:pt x="140" y="119"/>
                    <a:pt x="119" y="140"/>
                    <a:pt x="92" y="140"/>
                  </a:cubicBezTo>
                  <a:close/>
                  <a:moveTo>
                    <a:pt x="92" y="0"/>
                  </a:moveTo>
                  <a:cubicBezTo>
                    <a:pt x="41" y="0"/>
                    <a:pt x="0" y="41"/>
                    <a:pt x="0" y="92"/>
                  </a:cubicBezTo>
                  <a:cubicBezTo>
                    <a:pt x="0" y="143"/>
                    <a:pt x="41" y="184"/>
                    <a:pt x="92" y="184"/>
                  </a:cubicBezTo>
                  <a:cubicBezTo>
                    <a:pt x="143" y="184"/>
                    <a:pt x="184" y="143"/>
                    <a:pt x="184" y="92"/>
                  </a:cubicBezTo>
                  <a:cubicBezTo>
                    <a:pt x="184" y="41"/>
                    <a:pt x="143" y="0"/>
                    <a:pt x="9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Freeform 211">
              <a:extLst>
                <a:ext uri="{FF2B5EF4-FFF2-40B4-BE49-F238E27FC236}">
                  <a16:creationId xmlns:a16="http://schemas.microsoft.com/office/drawing/2014/main" id="{3D24541F-676E-6C5E-3789-C82F5C6314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9976" y="966788"/>
              <a:ext cx="52388" cy="52388"/>
            </a:xfrm>
            <a:custGeom>
              <a:avLst/>
              <a:gdLst>
                <a:gd name="T0" fmla="*/ 43 w 76"/>
                <a:gd name="T1" fmla="*/ 48 h 76"/>
                <a:gd name="T2" fmla="*/ 32 w 76"/>
                <a:gd name="T3" fmla="*/ 48 h 76"/>
                <a:gd name="T4" fmla="*/ 27 w 76"/>
                <a:gd name="T5" fmla="*/ 38 h 76"/>
                <a:gd name="T6" fmla="*/ 32 w 76"/>
                <a:gd name="T7" fmla="*/ 29 h 76"/>
                <a:gd name="T8" fmla="*/ 43 w 76"/>
                <a:gd name="T9" fmla="*/ 29 h 76"/>
                <a:gd name="T10" fmla="*/ 49 w 76"/>
                <a:gd name="T11" fmla="*/ 38 h 76"/>
                <a:gd name="T12" fmla="*/ 43 w 76"/>
                <a:gd name="T13" fmla="*/ 48 h 76"/>
                <a:gd name="T14" fmla="*/ 38 w 76"/>
                <a:gd name="T15" fmla="*/ 0 h 76"/>
                <a:gd name="T16" fmla="*/ 0 w 76"/>
                <a:gd name="T17" fmla="*/ 38 h 76"/>
                <a:gd name="T18" fmla="*/ 38 w 76"/>
                <a:gd name="T19" fmla="*/ 76 h 76"/>
                <a:gd name="T20" fmla="*/ 76 w 76"/>
                <a:gd name="T21" fmla="*/ 38 h 76"/>
                <a:gd name="T22" fmla="*/ 38 w 76"/>
                <a:gd name="T2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6">
                  <a:moveTo>
                    <a:pt x="43" y="48"/>
                  </a:moveTo>
                  <a:lnTo>
                    <a:pt x="32" y="48"/>
                  </a:lnTo>
                  <a:lnTo>
                    <a:pt x="27" y="38"/>
                  </a:lnTo>
                  <a:lnTo>
                    <a:pt x="32" y="29"/>
                  </a:lnTo>
                  <a:lnTo>
                    <a:pt x="43" y="29"/>
                  </a:lnTo>
                  <a:lnTo>
                    <a:pt x="49" y="38"/>
                  </a:lnTo>
                  <a:lnTo>
                    <a:pt x="43" y="48"/>
                  </a:lnTo>
                  <a:close/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ubicBezTo>
                    <a:pt x="76" y="17"/>
                    <a:pt x="59" y="0"/>
                    <a:pt x="3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Freeform 212">
              <a:extLst>
                <a:ext uri="{FF2B5EF4-FFF2-40B4-BE49-F238E27FC236}">
                  <a16:creationId xmlns:a16="http://schemas.microsoft.com/office/drawing/2014/main" id="{37508675-FA8C-51CE-64D2-7F9E15BFD0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48751" y="928688"/>
              <a:ext cx="127000" cy="127000"/>
            </a:xfrm>
            <a:custGeom>
              <a:avLst/>
              <a:gdLst>
                <a:gd name="T0" fmla="*/ 92 w 184"/>
                <a:gd name="T1" fmla="*/ 140 h 184"/>
                <a:gd name="T2" fmla="*/ 44 w 184"/>
                <a:gd name="T3" fmla="*/ 92 h 184"/>
                <a:gd name="T4" fmla="*/ 92 w 184"/>
                <a:gd name="T5" fmla="*/ 44 h 184"/>
                <a:gd name="T6" fmla="*/ 141 w 184"/>
                <a:gd name="T7" fmla="*/ 92 h 184"/>
                <a:gd name="T8" fmla="*/ 92 w 184"/>
                <a:gd name="T9" fmla="*/ 140 h 184"/>
                <a:gd name="T10" fmla="*/ 92 w 184"/>
                <a:gd name="T11" fmla="*/ 0 h 184"/>
                <a:gd name="T12" fmla="*/ 0 w 184"/>
                <a:gd name="T13" fmla="*/ 92 h 184"/>
                <a:gd name="T14" fmla="*/ 92 w 184"/>
                <a:gd name="T15" fmla="*/ 184 h 184"/>
                <a:gd name="T16" fmla="*/ 184 w 184"/>
                <a:gd name="T17" fmla="*/ 92 h 184"/>
                <a:gd name="T18" fmla="*/ 92 w 184"/>
                <a:gd name="T1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4" h="184">
                  <a:moveTo>
                    <a:pt x="92" y="140"/>
                  </a:moveTo>
                  <a:cubicBezTo>
                    <a:pt x="66" y="140"/>
                    <a:pt x="44" y="119"/>
                    <a:pt x="44" y="92"/>
                  </a:cubicBezTo>
                  <a:cubicBezTo>
                    <a:pt x="44" y="65"/>
                    <a:pt x="66" y="44"/>
                    <a:pt x="92" y="44"/>
                  </a:cubicBezTo>
                  <a:cubicBezTo>
                    <a:pt x="119" y="44"/>
                    <a:pt x="141" y="65"/>
                    <a:pt x="141" y="92"/>
                  </a:cubicBezTo>
                  <a:cubicBezTo>
                    <a:pt x="141" y="119"/>
                    <a:pt x="119" y="140"/>
                    <a:pt x="92" y="140"/>
                  </a:cubicBezTo>
                  <a:close/>
                  <a:moveTo>
                    <a:pt x="92" y="0"/>
                  </a:moveTo>
                  <a:cubicBezTo>
                    <a:pt x="41" y="0"/>
                    <a:pt x="0" y="41"/>
                    <a:pt x="0" y="92"/>
                  </a:cubicBezTo>
                  <a:cubicBezTo>
                    <a:pt x="0" y="143"/>
                    <a:pt x="41" y="184"/>
                    <a:pt x="92" y="184"/>
                  </a:cubicBezTo>
                  <a:cubicBezTo>
                    <a:pt x="143" y="184"/>
                    <a:pt x="184" y="143"/>
                    <a:pt x="184" y="92"/>
                  </a:cubicBezTo>
                  <a:cubicBezTo>
                    <a:pt x="184" y="41"/>
                    <a:pt x="143" y="0"/>
                    <a:pt x="9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Freeform 213">
              <a:extLst>
                <a:ext uri="{FF2B5EF4-FFF2-40B4-BE49-F238E27FC236}">
                  <a16:creationId xmlns:a16="http://schemas.microsoft.com/office/drawing/2014/main" id="{2BE18484-F469-EFE6-1C6E-D945A7BF83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85264" y="966788"/>
              <a:ext cx="52388" cy="52388"/>
            </a:xfrm>
            <a:custGeom>
              <a:avLst/>
              <a:gdLst>
                <a:gd name="T0" fmla="*/ 44 w 76"/>
                <a:gd name="T1" fmla="*/ 48 h 76"/>
                <a:gd name="T2" fmla="*/ 33 w 76"/>
                <a:gd name="T3" fmla="*/ 48 h 76"/>
                <a:gd name="T4" fmla="*/ 27 w 76"/>
                <a:gd name="T5" fmla="*/ 38 h 76"/>
                <a:gd name="T6" fmla="*/ 33 w 76"/>
                <a:gd name="T7" fmla="*/ 29 h 76"/>
                <a:gd name="T8" fmla="*/ 44 w 76"/>
                <a:gd name="T9" fmla="*/ 29 h 76"/>
                <a:gd name="T10" fmla="*/ 49 w 76"/>
                <a:gd name="T11" fmla="*/ 38 h 76"/>
                <a:gd name="T12" fmla="*/ 44 w 76"/>
                <a:gd name="T13" fmla="*/ 48 h 76"/>
                <a:gd name="T14" fmla="*/ 38 w 76"/>
                <a:gd name="T15" fmla="*/ 0 h 76"/>
                <a:gd name="T16" fmla="*/ 0 w 76"/>
                <a:gd name="T17" fmla="*/ 38 h 76"/>
                <a:gd name="T18" fmla="*/ 38 w 76"/>
                <a:gd name="T19" fmla="*/ 76 h 76"/>
                <a:gd name="T20" fmla="*/ 76 w 76"/>
                <a:gd name="T21" fmla="*/ 38 h 76"/>
                <a:gd name="T22" fmla="*/ 38 w 76"/>
                <a:gd name="T2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6">
                  <a:moveTo>
                    <a:pt x="44" y="48"/>
                  </a:moveTo>
                  <a:lnTo>
                    <a:pt x="33" y="48"/>
                  </a:lnTo>
                  <a:lnTo>
                    <a:pt x="27" y="38"/>
                  </a:lnTo>
                  <a:lnTo>
                    <a:pt x="33" y="29"/>
                  </a:lnTo>
                  <a:lnTo>
                    <a:pt x="44" y="29"/>
                  </a:lnTo>
                  <a:lnTo>
                    <a:pt x="49" y="38"/>
                  </a:lnTo>
                  <a:lnTo>
                    <a:pt x="44" y="48"/>
                  </a:lnTo>
                  <a:close/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ubicBezTo>
                    <a:pt x="76" y="17"/>
                    <a:pt x="59" y="0"/>
                    <a:pt x="3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Freeform 214">
              <a:extLst>
                <a:ext uri="{FF2B5EF4-FFF2-40B4-BE49-F238E27FC236}">
                  <a16:creationId xmlns:a16="http://schemas.microsoft.com/office/drawing/2014/main" id="{D1515BC4-9F8D-B137-4704-4BA31BF7D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926" y="534988"/>
              <a:ext cx="339725" cy="66675"/>
            </a:xfrm>
            <a:custGeom>
              <a:avLst/>
              <a:gdLst>
                <a:gd name="T0" fmla="*/ 0 w 491"/>
                <a:gd name="T1" fmla="*/ 0 h 96"/>
                <a:gd name="T2" fmla="*/ 82 w 491"/>
                <a:gd name="T3" fmla="*/ 96 h 96"/>
                <a:gd name="T4" fmla="*/ 491 w 491"/>
                <a:gd name="T5" fmla="*/ 96 h 96"/>
                <a:gd name="T6" fmla="*/ 491 w 491"/>
                <a:gd name="T7" fmla="*/ 0 h 96"/>
                <a:gd name="T8" fmla="*/ 0 w 491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1" h="96">
                  <a:moveTo>
                    <a:pt x="0" y="0"/>
                  </a:moveTo>
                  <a:cubicBezTo>
                    <a:pt x="19" y="22"/>
                    <a:pt x="47" y="56"/>
                    <a:pt x="82" y="96"/>
                  </a:cubicBezTo>
                  <a:lnTo>
                    <a:pt x="491" y="96"/>
                  </a:lnTo>
                  <a:lnTo>
                    <a:pt x="49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Freeform 215">
              <a:extLst>
                <a:ext uri="{FF2B5EF4-FFF2-40B4-BE49-F238E27FC236}">
                  <a16:creationId xmlns:a16="http://schemas.microsoft.com/office/drawing/2014/main" id="{5B2A4468-96CF-947E-D29A-70A7FA5DB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5639" y="668338"/>
              <a:ext cx="227013" cy="65088"/>
            </a:xfrm>
            <a:custGeom>
              <a:avLst/>
              <a:gdLst>
                <a:gd name="T0" fmla="*/ 0 w 329"/>
                <a:gd name="T1" fmla="*/ 0 h 94"/>
                <a:gd name="T2" fmla="*/ 80 w 329"/>
                <a:gd name="T3" fmla="*/ 94 h 94"/>
                <a:gd name="T4" fmla="*/ 329 w 329"/>
                <a:gd name="T5" fmla="*/ 94 h 94"/>
                <a:gd name="T6" fmla="*/ 329 w 329"/>
                <a:gd name="T7" fmla="*/ 0 h 94"/>
                <a:gd name="T8" fmla="*/ 0 w 329"/>
                <a:gd name="T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9" h="94">
                  <a:moveTo>
                    <a:pt x="0" y="0"/>
                  </a:moveTo>
                  <a:cubicBezTo>
                    <a:pt x="26" y="30"/>
                    <a:pt x="53" y="62"/>
                    <a:pt x="80" y="94"/>
                  </a:cubicBezTo>
                  <a:lnTo>
                    <a:pt x="329" y="94"/>
                  </a:lnTo>
                  <a:lnTo>
                    <a:pt x="32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Freeform 216">
              <a:extLst>
                <a:ext uri="{FF2B5EF4-FFF2-40B4-BE49-F238E27FC236}">
                  <a16:creationId xmlns:a16="http://schemas.microsoft.com/office/drawing/2014/main" id="{E3625B32-463B-4683-BBED-DC5A1F7A1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6764" y="798513"/>
              <a:ext cx="115888" cy="65088"/>
            </a:xfrm>
            <a:custGeom>
              <a:avLst/>
              <a:gdLst>
                <a:gd name="T0" fmla="*/ 0 w 168"/>
                <a:gd name="T1" fmla="*/ 0 h 94"/>
                <a:gd name="T2" fmla="*/ 80 w 168"/>
                <a:gd name="T3" fmla="*/ 94 h 94"/>
                <a:gd name="T4" fmla="*/ 168 w 168"/>
                <a:gd name="T5" fmla="*/ 94 h 94"/>
                <a:gd name="T6" fmla="*/ 168 w 168"/>
                <a:gd name="T7" fmla="*/ 0 h 94"/>
                <a:gd name="T8" fmla="*/ 0 w 168"/>
                <a:gd name="T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94">
                  <a:moveTo>
                    <a:pt x="0" y="0"/>
                  </a:moveTo>
                  <a:cubicBezTo>
                    <a:pt x="28" y="32"/>
                    <a:pt x="55" y="64"/>
                    <a:pt x="80" y="94"/>
                  </a:cubicBezTo>
                  <a:lnTo>
                    <a:pt x="168" y="94"/>
                  </a:lnTo>
                  <a:lnTo>
                    <a:pt x="16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Freeform 217">
              <a:extLst>
                <a:ext uri="{FF2B5EF4-FFF2-40B4-BE49-F238E27FC236}">
                  <a16:creationId xmlns:a16="http://schemas.microsoft.com/office/drawing/2014/main" id="{BFD999F5-AB8B-531B-F114-A5E879380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6764" y="798513"/>
              <a:ext cx="115888" cy="0"/>
            </a:xfrm>
            <a:custGeom>
              <a:avLst/>
              <a:gdLst>
                <a:gd name="T0" fmla="*/ 168 w 168"/>
                <a:gd name="T1" fmla="*/ 0 h 1"/>
                <a:gd name="T2" fmla="*/ 0 w 168"/>
                <a:gd name="T3" fmla="*/ 0 h 1"/>
                <a:gd name="T4" fmla="*/ 0 w 168"/>
                <a:gd name="T5" fmla="*/ 1 h 1"/>
                <a:gd name="T6" fmla="*/ 168 w 168"/>
                <a:gd name="T7" fmla="*/ 1 h 1"/>
                <a:gd name="T8" fmla="*/ 168 w 16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">
                  <a:moveTo>
                    <a:pt x="168" y="0"/>
                  </a:moveTo>
                  <a:lnTo>
                    <a:pt x="0" y="0"/>
                  </a:lnTo>
                  <a:cubicBezTo>
                    <a:pt x="0" y="0"/>
                    <a:pt x="0" y="1"/>
                    <a:pt x="0" y="1"/>
                  </a:cubicBezTo>
                  <a:lnTo>
                    <a:pt x="168" y="1"/>
                  </a:lnTo>
                  <a:lnTo>
                    <a:pt x="16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Rectangle 218">
              <a:extLst>
                <a:ext uri="{FF2B5EF4-FFF2-40B4-BE49-F238E27FC236}">
                  <a16:creationId xmlns:a16="http://schemas.microsoft.com/office/drawing/2014/main" id="{AF083328-922A-17D7-F027-059C664A8F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02651" y="601663"/>
              <a:ext cx="69850" cy="666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Rectangle 219">
              <a:extLst>
                <a:ext uri="{FF2B5EF4-FFF2-40B4-BE49-F238E27FC236}">
                  <a16:creationId xmlns:a16="http://schemas.microsoft.com/office/drawing/2014/main" id="{B87A7B7C-B3FB-AD8D-59D3-823F3C6C03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02651" y="733426"/>
              <a:ext cx="69850" cy="650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Rectangle 220">
              <a:extLst>
                <a:ext uri="{FF2B5EF4-FFF2-40B4-BE49-F238E27FC236}">
                  <a16:creationId xmlns:a16="http://schemas.microsoft.com/office/drawing/2014/main" id="{41291165-A052-FE08-002C-2AB2F447CA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02651" y="798513"/>
              <a:ext cx="69850" cy="15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Rectangle 221">
              <a:extLst>
                <a:ext uri="{FF2B5EF4-FFF2-40B4-BE49-F238E27FC236}">
                  <a16:creationId xmlns:a16="http://schemas.microsoft.com/office/drawing/2014/main" id="{BA408B48-5379-444B-997A-CE35D7BEFE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02651" y="863601"/>
              <a:ext cx="69850" cy="650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Rectangle 222">
              <a:extLst>
                <a:ext uri="{FF2B5EF4-FFF2-40B4-BE49-F238E27FC236}">
                  <a16:creationId xmlns:a16="http://schemas.microsoft.com/office/drawing/2014/main" id="{6A5CA110-5631-C589-A664-F57B6ECD3F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2501" y="668338"/>
              <a:ext cx="66675" cy="650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Freeform 223">
              <a:extLst>
                <a:ext uri="{FF2B5EF4-FFF2-40B4-BE49-F238E27FC236}">
                  <a16:creationId xmlns:a16="http://schemas.microsoft.com/office/drawing/2014/main" id="{29255F71-39BF-247A-1B26-22D7CFB142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2501" y="534988"/>
              <a:ext cx="715963" cy="469900"/>
            </a:xfrm>
            <a:custGeom>
              <a:avLst/>
              <a:gdLst>
                <a:gd name="T0" fmla="*/ 904 w 1034"/>
                <a:gd name="T1" fmla="*/ 378 h 677"/>
                <a:gd name="T2" fmla="*/ 785 w 1034"/>
                <a:gd name="T3" fmla="*/ 378 h 677"/>
                <a:gd name="T4" fmla="*/ 751 w 1034"/>
                <a:gd name="T5" fmla="*/ 349 h 677"/>
                <a:gd name="T6" fmla="*/ 751 w 1034"/>
                <a:gd name="T7" fmla="*/ 198 h 677"/>
                <a:gd name="T8" fmla="*/ 781 w 1034"/>
                <a:gd name="T9" fmla="*/ 167 h 677"/>
                <a:gd name="T10" fmla="*/ 829 w 1034"/>
                <a:gd name="T11" fmla="*/ 167 h 677"/>
                <a:gd name="T12" fmla="*/ 868 w 1034"/>
                <a:gd name="T13" fmla="*/ 197 h 677"/>
                <a:gd name="T14" fmla="*/ 934 w 1034"/>
                <a:gd name="T15" fmla="*/ 343 h 677"/>
                <a:gd name="T16" fmla="*/ 904 w 1034"/>
                <a:gd name="T17" fmla="*/ 378 h 677"/>
                <a:gd name="T18" fmla="*/ 728 w 1034"/>
                <a:gd name="T19" fmla="*/ 346 h 677"/>
                <a:gd name="T20" fmla="*/ 701 w 1034"/>
                <a:gd name="T21" fmla="*/ 378 h 677"/>
                <a:gd name="T22" fmla="*/ 675 w 1034"/>
                <a:gd name="T23" fmla="*/ 378 h 677"/>
                <a:gd name="T24" fmla="*/ 647 w 1034"/>
                <a:gd name="T25" fmla="*/ 349 h 677"/>
                <a:gd name="T26" fmla="*/ 647 w 1034"/>
                <a:gd name="T27" fmla="*/ 198 h 677"/>
                <a:gd name="T28" fmla="*/ 678 w 1034"/>
                <a:gd name="T29" fmla="*/ 167 h 677"/>
                <a:gd name="T30" fmla="*/ 695 w 1034"/>
                <a:gd name="T31" fmla="*/ 167 h 677"/>
                <a:gd name="T32" fmla="*/ 728 w 1034"/>
                <a:gd name="T33" fmla="*/ 197 h 677"/>
                <a:gd name="T34" fmla="*/ 728 w 1034"/>
                <a:gd name="T35" fmla="*/ 346 h 677"/>
                <a:gd name="T36" fmla="*/ 1019 w 1034"/>
                <a:gd name="T37" fmla="*/ 550 h 677"/>
                <a:gd name="T38" fmla="*/ 1005 w 1034"/>
                <a:gd name="T39" fmla="*/ 550 h 677"/>
                <a:gd name="T40" fmla="*/ 1005 w 1034"/>
                <a:gd name="T41" fmla="*/ 448 h 677"/>
                <a:gd name="T42" fmla="*/ 994 w 1034"/>
                <a:gd name="T43" fmla="*/ 393 h 677"/>
                <a:gd name="T44" fmla="*/ 894 w 1034"/>
                <a:gd name="T45" fmla="*/ 180 h 677"/>
                <a:gd name="T46" fmla="*/ 813 w 1034"/>
                <a:gd name="T47" fmla="*/ 130 h 677"/>
                <a:gd name="T48" fmla="*/ 678 w 1034"/>
                <a:gd name="T49" fmla="*/ 130 h 677"/>
                <a:gd name="T50" fmla="*/ 609 w 1034"/>
                <a:gd name="T51" fmla="*/ 202 h 677"/>
                <a:gd name="T52" fmla="*/ 609 w 1034"/>
                <a:gd name="T53" fmla="*/ 543 h 677"/>
                <a:gd name="T54" fmla="*/ 582 w 1034"/>
                <a:gd name="T55" fmla="*/ 560 h 677"/>
                <a:gd name="T56" fmla="*/ 558 w 1034"/>
                <a:gd name="T57" fmla="*/ 542 h 677"/>
                <a:gd name="T58" fmla="*/ 558 w 1034"/>
                <a:gd name="T59" fmla="*/ 58 h 677"/>
                <a:gd name="T60" fmla="*/ 501 w 1034"/>
                <a:gd name="T61" fmla="*/ 0 h 677"/>
                <a:gd name="T62" fmla="*/ 0 w 1034"/>
                <a:gd name="T63" fmla="*/ 0 h 677"/>
                <a:gd name="T64" fmla="*/ 0 w 1034"/>
                <a:gd name="T65" fmla="*/ 96 h 677"/>
                <a:gd name="T66" fmla="*/ 98 w 1034"/>
                <a:gd name="T67" fmla="*/ 96 h 677"/>
                <a:gd name="T68" fmla="*/ 98 w 1034"/>
                <a:gd name="T69" fmla="*/ 191 h 677"/>
                <a:gd name="T70" fmla="*/ 197 w 1034"/>
                <a:gd name="T71" fmla="*/ 191 h 677"/>
                <a:gd name="T72" fmla="*/ 197 w 1034"/>
                <a:gd name="T73" fmla="*/ 285 h 677"/>
                <a:gd name="T74" fmla="*/ 98 w 1034"/>
                <a:gd name="T75" fmla="*/ 285 h 677"/>
                <a:gd name="T76" fmla="*/ 98 w 1034"/>
                <a:gd name="T77" fmla="*/ 379 h 677"/>
                <a:gd name="T78" fmla="*/ 0 w 1034"/>
                <a:gd name="T79" fmla="*/ 379 h 677"/>
                <a:gd name="T80" fmla="*/ 0 w 1034"/>
                <a:gd name="T81" fmla="*/ 380 h 677"/>
                <a:gd name="T82" fmla="*/ 0 w 1034"/>
                <a:gd name="T83" fmla="*/ 474 h 677"/>
                <a:gd name="T84" fmla="*/ 98 w 1034"/>
                <a:gd name="T85" fmla="*/ 474 h 677"/>
                <a:gd name="T86" fmla="*/ 98 w 1034"/>
                <a:gd name="T87" fmla="*/ 568 h 677"/>
                <a:gd name="T88" fmla="*/ 0 w 1034"/>
                <a:gd name="T89" fmla="*/ 568 h 677"/>
                <a:gd name="T90" fmla="*/ 0 w 1034"/>
                <a:gd name="T91" fmla="*/ 654 h 677"/>
                <a:gd name="T92" fmla="*/ 62 w 1034"/>
                <a:gd name="T93" fmla="*/ 654 h 677"/>
                <a:gd name="T94" fmla="*/ 94 w 1034"/>
                <a:gd name="T95" fmla="*/ 614 h 677"/>
                <a:gd name="T96" fmla="*/ 208 w 1034"/>
                <a:gd name="T97" fmla="*/ 537 h 677"/>
                <a:gd name="T98" fmla="*/ 331 w 1034"/>
                <a:gd name="T99" fmla="*/ 660 h 677"/>
                <a:gd name="T100" fmla="*/ 345 w 1034"/>
                <a:gd name="T101" fmla="*/ 677 h 677"/>
                <a:gd name="T102" fmla="*/ 642 w 1034"/>
                <a:gd name="T103" fmla="*/ 677 h 677"/>
                <a:gd name="T104" fmla="*/ 657 w 1034"/>
                <a:gd name="T105" fmla="*/ 660 h 677"/>
                <a:gd name="T106" fmla="*/ 780 w 1034"/>
                <a:gd name="T107" fmla="*/ 537 h 677"/>
                <a:gd name="T108" fmla="*/ 902 w 1034"/>
                <a:gd name="T109" fmla="*/ 660 h 677"/>
                <a:gd name="T110" fmla="*/ 918 w 1034"/>
                <a:gd name="T111" fmla="*/ 677 h 677"/>
                <a:gd name="T112" fmla="*/ 969 w 1034"/>
                <a:gd name="T113" fmla="*/ 677 h 677"/>
                <a:gd name="T114" fmla="*/ 1005 w 1034"/>
                <a:gd name="T115" fmla="*/ 636 h 677"/>
                <a:gd name="T116" fmla="*/ 1005 w 1034"/>
                <a:gd name="T117" fmla="*/ 617 h 677"/>
                <a:gd name="T118" fmla="*/ 1019 w 1034"/>
                <a:gd name="T119" fmla="*/ 617 h 677"/>
                <a:gd name="T120" fmla="*/ 1034 w 1034"/>
                <a:gd name="T121" fmla="*/ 603 h 677"/>
                <a:gd name="T122" fmla="*/ 1034 w 1034"/>
                <a:gd name="T123" fmla="*/ 565 h 677"/>
                <a:gd name="T124" fmla="*/ 1019 w 1034"/>
                <a:gd name="T125" fmla="*/ 55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34" h="677">
                  <a:moveTo>
                    <a:pt x="904" y="378"/>
                  </a:moveTo>
                  <a:lnTo>
                    <a:pt x="785" y="378"/>
                  </a:lnTo>
                  <a:cubicBezTo>
                    <a:pt x="759" y="378"/>
                    <a:pt x="751" y="360"/>
                    <a:pt x="751" y="349"/>
                  </a:cubicBezTo>
                  <a:lnTo>
                    <a:pt x="751" y="198"/>
                  </a:lnTo>
                  <a:cubicBezTo>
                    <a:pt x="751" y="181"/>
                    <a:pt x="763" y="167"/>
                    <a:pt x="781" y="167"/>
                  </a:cubicBezTo>
                  <a:lnTo>
                    <a:pt x="829" y="167"/>
                  </a:lnTo>
                  <a:cubicBezTo>
                    <a:pt x="851" y="167"/>
                    <a:pt x="861" y="182"/>
                    <a:pt x="868" y="197"/>
                  </a:cubicBezTo>
                  <a:cubicBezTo>
                    <a:pt x="883" y="228"/>
                    <a:pt x="928" y="322"/>
                    <a:pt x="934" y="343"/>
                  </a:cubicBezTo>
                  <a:cubicBezTo>
                    <a:pt x="939" y="358"/>
                    <a:pt x="933" y="378"/>
                    <a:pt x="904" y="378"/>
                  </a:cubicBezTo>
                  <a:close/>
                  <a:moveTo>
                    <a:pt x="728" y="346"/>
                  </a:moveTo>
                  <a:cubicBezTo>
                    <a:pt x="728" y="365"/>
                    <a:pt x="717" y="378"/>
                    <a:pt x="701" y="378"/>
                  </a:cubicBezTo>
                  <a:lnTo>
                    <a:pt x="675" y="378"/>
                  </a:lnTo>
                  <a:cubicBezTo>
                    <a:pt x="657" y="378"/>
                    <a:pt x="647" y="360"/>
                    <a:pt x="647" y="349"/>
                  </a:cubicBezTo>
                  <a:lnTo>
                    <a:pt x="647" y="198"/>
                  </a:lnTo>
                  <a:cubicBezTo>
                    <a:pt x="647" y="181"/>
                    <a:pt x="659" y="167"/>
                    <a:pt x="678" y="167"/>
                  </a:cubicBezTo>
                  <a:lnTo>
                    <a:pt x="695" y="167"/>
                  </a:lnTo>
                  <a:cubicBezTo>
                    <a:pt x="717" y="167"/>
                    <a:pt x="728" y="181"/>
                    <a:pt x="728" y="197"/>
                  </a:cubicBezTo>
                  <a:lnTo>
                    <a:pt x="728" y="346"/>
                  </a:lnTo>
                  <a:close/>
                  <a:moveTo>
                    <a:pt x="1019" y="550"/>
                  </a:moveTo>
                  <a:lnTo>
                    <a:pt x="1005" y="550"/>
                  </a:lnTo>
                  <a:lnTo>
                    <a:pt x="1005" y="448"/>
                  </a:lnTo>
                  <a:cubicBezTo>
                    <a:pt x="1005" y="437"/>
                    <a:pt x="1003" y="413"/>
                    <a:pt x="994" y="393"/>
                  </a:cubicBezTo>
                  <a:cubicBezTo>
                    <a:pt x="968" y="336"/>
                    <a:pt x="899" y="194"/>
                    <a:pt x="894" y="180"/>
                  </a:cubicBezTo>
                  <a:cubicBezTo>
                    <a:pt x="882" y="153"/>
                    <a:pt x="857" y="130"/>
                    <a:pt x="813" y="130"/>
                  </a:cubicBezTo>
                  <a:lnTo>
                    <a:pt x="678" y="130"/>
                  </a:lnTo>
                  <a:cubicBezTo>
                    <a:pt x="644" y="130"/>
                    <a:pt x="609" y="152"/>
                    <a:pt x="609" y="202"/>
                  </a:cubicBezTo>
                  <a:lnTo>
                    <a:pt x="609" y="543"/>
                  </a:lnTo>
                  <a:cubicBezTo>
                    <a:pt x="609" y="550"/>
                    <a:pt x="601" y="560"/>
                    <a:pt x="582" y="560"/>
                  </a:cubicBezTo>
                  <a:cubicBezTo>
                    <a:pt x="565" y="560"/>
                    <a:pt x="558" y="550"/>
                    <a:pt x="558" y="542"/>
                  </a:cubicBezTo>
                  <a:lnTo>
                    <a:pt x="558" y="58"/>
                  </a:lnTo>
                  <a:cubicBezTo>
                    <a:pt x="558" y="22"/>
                    <a:pt x="549" y="0"/>
                    <a:pt x="501" y="0"/>
                  </a:cubicBezTo>
                  <a:lnTo>
                    <a:pt x="0" y="0"/>
                  </a:lnTo>
                  <a:lnTo>
                    <a:pt x="0" y="96"/>
                  </a:lnTo>
                  <a:lnTo>
                    <a:pt x="98" y="96"/>
                  </a:lnTo>
                  <a:lnTo>
                    <a:pt x="98" y="191"/>
                  </a:lnTo>
                  <a:lnTo>
                    <a:pt x="197" y="191"/>
                  </a:lnTo>
                  <a:lnTo>
                    <a:pt x="197" y="285"/>
                  </a:lnTo>
                  <a:lnTo>
                    <a:pt x="98" y="285"/>
                  </a:lnTo>
                  <a:lnTo>
                    <a:pt x="98" y="379"/>
                  </a:lnTo>
                  <a:lnTo>
                    <a:pt x="0" y="379"/>
                  </a:lnTo>
                  <a:lnTo>
                    <a:pt x="0" y="380"/>
                  </a:lnTo>
                  <a:lnTo>
                    <a:pt x="0" y="474"/>
                  </a:lnTo>
                  <a:lnTo>
                    <a:pt x="98" y="474"/>
                  </a:lnTo>
                  <a:lnTo>
                    <a:pt x="98" y="568"/>
                  </a:lnTo>
                  <a:lnTo>
                    <a:pt x="0" y="568"/>
                  </a:lnTo>
                  <a:lnTo>
                    <a:pt x="0" y="654"/>
                  </a:lnTo>
                  <a:lnTo>
                    <a:pt x="62" y="654"/>
                  </a:lnTo>
                  <a:cubicBezTo>
                    <a:pt x="80" y="654"/>
                    <a:pt x="88" y="628"/>
                    <a:pt x="94" y="614"/>
                  </a:cubicBezTo>
                  <a:cubicBezTo>
                    <a:pt x="112" y="569"/>
                    <a:pt x="156" y="537"/>
                    <a:pt x="208" y="537"/>
                  </a:cubicBezTo>
                  <a:cubicBezTo>
                    <a:pt x="276" y="537"/>
                    <a:pt x="331" y="592"/>
                    <a:pt x="331" y="660"/>
                  </a:cubicBezTo>
                  <a:cubicBezTo>
                    <a:pt x="331" y="666"/>
                    <a:pt x="335" y="677"/>
                    <a:pt x="345" y="677"/>
                  </a:cubicBezTo>
                  <a:lnTo>
                    <a:pt x="642" y="677"/>
                  </a:lnTo>
                  <a:cubicBezTo>
                    <a:pt x="653" y="677"/>
                    <a:pt x="657" y="666"/>
                    <a:pt x="657" y="660"/>
                  </a:cubicBezTo>
                  <a:cubicBezTo>
                    <a:pt x="657" y="592"/>
                    <a:pt x="712" y="537"/>
                    <a:pt x="780" y="537"/>
                  </a:cubicBezTo>
                  <a:cubicBezTo>
                    <a:pt x="848" y="537"/>
                    <a:pt x="902" y="592"/>
                    <a:pt x="902" y="660"/>
                  </a:cubicBezTo>
                  <a:cubicBezTo>
                    <a:pt x="902" y="666"/>
                    <a:pt x="907" y="677"/>
                    <a:pt x="918" y="677"/>
                  </a:cubicBezTo>
                  <a:lnTo>
                    <a:pt x="969" y="677"/>
                  </a:lnTo>
                  <a:cubicBezTo>
                    <a:pt x="989" y="677"/>
                    <a:pt x="1005" y="657"/>
                    <a:pt x="1005" y="636"/>
                  </a:cubicBezTo>
                  <a:lnTo>
                    <a:pt x="1005" y="617"/>
                  </a:lnTo>
                  <a:lnTo>
                    <a:pt x="1019" y="617"/>
                  </a:lnTo>
                  <a:cubicBezTo>
                    <a:pt x="1027" y="617"/>
                    <a:pt x="1034" y="611"/>
                    <a:pt x="1034" y="603"/>
                  </a:cubicBezTo>
                  <a:lnTo>
                    <a:pt x="1034" y="565"/>
                  </a:lnTo>
                  <a:cubicBezTo>
                    <a:pt x="1034" y="557"/>
                    <a:pt x="1027" y="550"/>
                    <a:pt x="1019" y="55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81" name="Packag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5F35C7-50A6-95E4-D5A2-DD8E458A7272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6609860" y="4009277"/>
            <a:ext cx="480123" cy="542925"/>
            <a:chOff x="8613776" y="77787"/>
            <a:chExt cx="752475" cy="850901"/>
          </a:xfrm>
          <a:solidFill>
            <a:schemeClr val="bg1"/>
          </a:solidFill>
        </p:grpSpPr>
        <p:sp>
          <p:nvSpPr>
            <p:cNvPr id="182" name="Freeform 59">
              <a:extLst>
                <a:ext uri="{FF2B5EF4-FFF2-40B4-BE49-F238E27FC236}">
                  <a16:creationId xmlns:a16="http://schemas.microsoft.com/office/drawing/2014/main" id="{7C9486C0-4AC9-9E82-7D83-5B2155DF1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3001" y="333375"/>
              <a:ext cx="444500" cy="255588"/>
            </a:xfrm>
            <a:custGeom>
              <a:avLst/>
              <a:gdLst>
                <a:gd name="T0" fmla="*/ 42 w 584"/>
                <a:gd name="T1" fmla="*/ 332 h 334"/>
                <a:gd name="T2" fmla="*/ 42 w 584"/>
                <a:gd name="T3" fmla="*/ 334 h 334"/>
                <a:gd name="T4" fmla="*/ 171 w 584"/>
                <a:gd name="T5" fmla="*/ 334 h 334"/>
                <a:gd name="T6" fmla="*/ 136 w 584"/>
                <a:gd name="T7" fmla="*/ 202 h 334"/>
                <a:gd name="T8" fmla="*/ 184 w 584"/>
                <a:gd name="T9" fmla="*/ 228 h 334"/>
                <a:gd name="T10" fmla="*/ 211 w 584"/>
                <a:gd name="T11" fmla="*/ 332 h 334"/>
                <a:gd name="T12" fmla="*/ 373 w 584"/>
                <a:gd name="T13" fmla="*/ 332 h 334"/>
                <a:gd name="T14" fmla="*/ 401 w 584"/>
                <a:gd name="T15" fmla="*/ 228 h 334"/>
                <a:gd name="T16" fmla="*/ 447 w 584"/>
                <a:gd name="T17" fmla="*/ 202 h 334"/>
                <a:gd name="T18" fmla="*/ 413 w 584"/>
                <a:gd name="T19" fmla="*/ 334 h 334"/>
                <a:gd name="T20" fmla="*/ 541 w 584"/>
                <a:gd name="T21" fmla="*/ 334 h 334"/>
                <a:gd name="T22" fmla="*/ 581 w 584"/>
                <a:gd name="T23" fmla="*/ 201 h 334"/>
                <a:gd name="T24" fmla="*/ 583 w 584"/>
                <a:gd name="T25" fmla="*/ 170 h 334"/>
                <a:gd name="T26" fmla="*/ 442 w 584"/>
                <a:gd name="T27" fmla="*/ 0 h 334"/>
                <a:gd name="T28" fmla="*/ 292 w 584"/>
                <a:gd name="T29" fmla="*/ 60 h 334"/>
                <a:gd name="T30" fmla="*/ 141 w 584"/>
                <a:gd name="T31" fmla="*/ 0 h 334"/>
                <a:gd name="T32" fmla="*/ 0 w 584"/>
                <a:gd name="T33" fmla="*/ 169 h 334"/>
                <a:gd name="T34" fmla="*/ 3 w 584"/>
                <a:gd name="T35" fmla="*/ 202 h 334"/>
                <a:gd name="T36" fmla="*/ 42 w 584"/>
                <a:gd name="T37" fmla="*/ 33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4" h="334">
                  <a:moveTo>
                    <a:pt x="42" y="332"/>
                  </a:moveTo>
                  <a:lnTo>
                    <a:pt x="42" y="334"/>
                  </a:lnTo>
                  <a:lnTo>
                    <a:pt x="171" y="334"/>
                  </a:lnTo>
                  <a:lnTo>
                    <a:pt x="136" y="202"/>
                  </a:lnTo>
                  <a:cubicBezTo>
                    <a:pt x="156" y="197"/>
                    <a:pt x="178" y="208"/>
                    <a:pt x="184" y="228"/>
                  </a:cubicBezTo>
                  <a:lnTo>
                    <a:pt x="211" y="332"/>
                  </a:lnTo>
                  <a:lnTo>
                    <a:pt x="373" y="332"/>
                  </a:lnTo>
                  <a:lnTo>
                    <a:pt x="401" y="228"/>
                  </a:lnTo>
                  <a:cubicBezTo>
                    <a:pt x="406" y="209"/>
                    <a:pt x="428" y="197"/>
                    <a:pt x="447" y="202"/>
                  </a:cubicBezTo>
                  <a:lnTo>
                    <a:pt x="413" y="334"/>
                  </a:lnTo>
                  <a:lnTo>
                    <a:pt x="541" y="334"/>
                  </a:lnTo>
                  <a:lnTo>
                    <a:pt x="581" y="201"/>
                  </a:lnTo>
                  <a:cubicBezTo>
                    <a:pt x="584" y="193"/>
                    <a:pt x="584" y="174"/>
                    <a:pt x="583" y="170"/>
                  </a:cubicBezTo>
                  <a:cubicBezTo>
                    <a:pt x="575" y="90"/>
                    <a:pt x="521" y="32"/>
                    <a:pt x="442" y="0"/>
                  </a:cubicBezTo>
                  <a:cubicBezTo>
                    <a:pt x="403" y="37"/>
                    <a:pt x="350" y="60"/>
                    <a:pt x="292" y="60"/>
                  </a:cubicBezTo>
                  <a:cubicBezTo>
                    <a:pt x="234" y="60"/>
                    <a:pt x="181" y="37"/>
                    <a:pt x="141" y="0"/>
                  </a:cubicBezTo>
                  <a:cubicBezTo>
                    <a:pt x="63" y="31"/>
                    <a:pt x="8" y="89"/>
                    <a:pt x="0" y="169"/>
                  </a:cubicBezTo>
                  <a:cubicBezTo>
                    <a:pt x="0" y="172"/>
                    <a:pt x="0" y="192"/>
                    <a:pt x="3" y="202"/>
                  </a:cubicBezTo>
                  <a:lnTo>
                    <a:pt x="42" y="33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Oval 60">
              <a:extLst>
                <a:ext uri="{FF2B5EF4-FFF2-40B4-BE49-F238E27FC236}">
                  <a16:creationId xmlns:a16="http://schemas.microsoft.com/office/drawing/2014/main" id="{CB81FA6C-AA1B-27DA-FA8F-0417727979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0313" y="77787"/>
              <a:ext cx="269875" cy="2698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Freeform 61">
              <a:extLst>
                <a:ext uri="{FF2B5EF4-FFF2-40B4-BE49-F238E27FC236}">
                  <a16:creationId xmlns:a16="http://schemas.microsoft.com/office/drawing/2014/main" id="{7EC37360-E3C7-2A26-AB8C-BE45527632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3776" y="520700"/>
              <a:ext cx="752475" cy="407988"/>
            </a:xfrm>
            <a:custGeom>
              <a:avLst/>
              <a:gdLst>
                <a:gd name="T0" fmla="*/ 238 w 987"/>
                <a:gd name="T1" fmla="*/ 177 h 535"/>
                <a:gd name="T2" fmla="*/ 749 w 987"/>
                <a:gd name="T3" fmla="*/ 177 h 535"/>
                <a:gd name="T4" fmla="*/ 749 w 987"/>
                <a:gd name="T5" fmla="*/ 493 h 535"/>
                <a:gd name="T6" fmla="*/ 238 w 987"/>
                <a:gd name="T7" fmla="*/ 493 h 535"/>
                <a:gd name="T8" fmla="*/ 238 w 987"/>
                <a:gd name="T9" fmla="*/ 177 h 535"/>
                <a:gd name="T10" fmla="*/ 197 w 987"/>
                <a:gd name="T11" fmla="*/ 514 h 535"/>
                <a:gd name="T12" fmla="*/ 218 w 987"/>
                <a:gd name="T13" fmla="*/ 535 h 535"/>
                <a:gd name="T14" fmla="*/ 770 w 987"/>
                <a:gd name="T15" fmla="*/ 535 h 535"/>
                <a:gd name="T16" fmla="*/ 791 w 987"/>
                <a:gd name="T17" fmla="*/ 514 h 535"/>
                <a:gd name="T18" fmla="*/ 791 w 987"/>
                <a:gd name="T19" fmla="*/ 167 h 535"/>
                <a:gd name="T20" fmla="*/ 987 w 987"/>
                <a:gd name="T21" fmla="*/ 35 h 535"/>
                <a:gd name="T22" fmla="*/ 964 w 987"/>
                <a:gd name="T23" fmla="*/ 0 h 535"/>
                <a:gd name="T24" fmla="*/ 763 w 987"/>
                <a:gd name="T25" fmla="*/ 135 h 535"/>
                <a:gd name="T26" fmla="*/ 224 w 987"/>
                <a:gd name="T27" fmla="*/ 135 h 535"/>
                <a:gd name="T28" fmla="*/ 24 w 987"/>
                <a:gd name="T29" fmla="*/ 0 h 535"/>
                <a:gd name="T30" fmla="*/ 0 w 987"/>
                <a:gd name="T31" fmla="*/ 35 h 535"/>
                <a:gd name="T32" fmla="*/ 197 w 987"/>
                <a:gd name="T33" fmla="*/ 167 h 535"/>
                <a:gd name="T34" fmla="*/ 197 w 987"/>
                <a:gd name="T35" fmla="*/ 514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87" h="535">
                  <a:moveTo>
                    <a:pt x="238" y="177"/>
                  </a:moveTo>
                  <a:lnTo>
                    <a:pt x="749" y="177"/>
                  </a:lnTo>
                  <a:lnTo>
                    <a:pt x="749" y="493"/>
                  </a:lnTo>
                  <a:lnTo>
                    <a:pt x="238" y="493"/>
                  </a:lnTo>
                  <a:lnTo>
                    <a:pt x="238" y="177"/>
                  </a:lnTo>
                  <a:close/>
                  <a:moveTo>
                    <a:pt x="197" y="514"/>
                  </a:moveTo>
                  <a:cubicBezTo>
                    <a:pt x="197" y="525"/>
                    <a:pt x="206" y="535"/>
                    <a:pt x="218" y="535"/>
                  </a:cubicBezTo>
                  <a:lnTo>
                    <a:pt x="770" y="535"/>
                  </a:lnTo>
                  <a:cubicBezTo>
                    <a:pt x="781" y="535"/>
                    <a:pt x="791" y="525"/>
                    <a:pt x="791" y="514"/>
                  </a:cubicBezTo>
                  <a:lnTo>
                    <a:pt x="791" y="167"/>
                  </a:lnTo>
                  <a:lnTo>
                    <a:pt x="987" y="35"/>
                  </a:lnTo>
                  <a:lnTo>
                    <a:pt x="964" y="0"/>
                  </a:lnTo>
                  <a:lnTo>
                    <a:pt x="763" y="135"/>
                  </a:lnTo>
                  <a:lnTo>
                    <a:pt x="224" y="135"/>
                  </a:lnTo>
                  <a:lnTo>
                    <a:pt x="24" y="0"/>
                  </a:lnTo>
                  <a:lnTo>
                    <a:pt x="0" y="35"/>
                  </a:lnTo>
                  <a:lnTo>
                    <a:pt x="197" y="167"/>
                  </a:lnTo>
                  <a:lnTo>
                    <a:pt x="197" y="51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35F7F3-C1B5-4B60-A00A-4EB618DDFB5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19125" y="339725"/>
            <a:ext cx="11572875" cy="723900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en-US" sz="3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Why the change?</a:t>
            </a:r>
            <a:endParaRPr lang="en-US" dirty="0"/>
          </a:p>
        </p:txBody>
      </p:sp>
      <p:sp>
        <p:nvSpPr>
          <p:cNvPr id="3" name="Rounded Rectangle 3">
            <a:extLst>
              <a:ext uri="{FF2B5EF4-FFF2-40B4-BE49-F238E27FC236}">
                <a16:creationId xmlns:a16="http://schemas.microsoft.com/office/drawing/2014/main" id="{89B78595-D9B9-41AB-B7EE-BC95272C2AA5}"/>
              </a:ext>
            </a:extLst>
          </p:cNvPr>
          <p:cNvSpPr/>
          <p:nvPr/>
        </p:nvSpPr>
        <p:spPr>
          <a:xfrm>
            <a:off x="6116789" y="1562621"/>
            <a:ext cx="4976385" cy="962387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4" name="Rounded Rectangle 4">
            <a:extLst>
              <a:ext uri="{FF2B5EF4-FFF2-40B4-BE49-F238E27FC236}">
                <a16:creationId xmlns:a16="http://schemas.microsoft.com/office/drawing/2014/main" id="{F2CC443C-BC1B-4E6E-A525-63C357895BBE}"/>
              </a:ext>
            </a:extLst>
          </p:cNvPr>
          <p:cNvSpPr/>
          <p:nvPr/>
        </p:nvSpPr>
        <p:spPr>
          <a:xfrm>
            <a:off x="6116789" y="2708844"/>
            <a:ext cx="4976385" cy="96238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5" name="Rounded Rectangle 5">
            <a:extLst>
              <a:ext uri="{FF2B5EF4-FFF2-40B4-BE49-F238E27FC236}">
                <a16:creationId xmlns:a16="http://schemas.microsoft.com/office/drawing/2014/main" id="{47E9B48C-BB95-426D-A2E0-540A9FC3E658}"/>
              </a:ext>
            </a:extLst>
          </p:cNvPr>
          <p:cNvSpPr/>
          <p:nvPr/>
        </p:nvSpPr>
        <p:spPr>
          <a:xfrm>
            <a:off x="6116789" y="3855067"/>
            <a:ext cx="4976385" cy="96238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6" name="Rounded Rectangle 6">
            <a:extLst>
              <a:ext uri="{FF2B5EF4-FFF2-40B4-BE49-F238E27FC236}">
                <a16:creationId xmlns:a16="http://schemas.microsoft.com/office/drawing/2014/main" id="{238454B7-340F-4F60-9C9B-3C6A36DC8C82}"/>
              </a:ext>
            </a:extLst>
          </p:cNvPr>
          <p:cNvSpPr/>
          <p:nvPr/>
        </p:nvSpPr>
        <p:spPr>
          <a:xfrm>
            <a:off x="6116789" y="5001290"/>
            <a:ext cx="4976385" cy="96238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AED56FF-66ED-4330-B678-6D996E6C6D15}"/>
              </a:ext>
            </a:extLst>
          </p:cNvPr>
          <p:cNvCxnSpPr>
            <a:cxnSpLocks/>
            <a:endCxn id="3" idx="1"/>
          </p:cNvCxnSpPr>
          <p:nvPr/>
        </p:nvCxnSpPr>
        <p:spPr>
          <a:xfrm>
            <a:off x="3766402" y="2043814"/>
            <a:ext cx="2350387" cy="1"/>
          </a:xfrm>
          <a:prstGeom prst="straightConnector1">
            <a:avLst/>
          </a:prstGeom>
          <a:ln w="38100">
            <a:solidFill>
              <a:schemeClr val="accent4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1E27E223-8D15-4B96-BCE7-6F4ACD5BDE70}"/>
              </a:ext>
            </a:extLst>
          </p:cNvPr>
          <p:cNvGrpSpPr/>
          <p:nvPr/>
        </p:nvGrpSpPr>
        <p:grpSpPr>
          <a:xfrm>
            <a:off x="829094" y="1709718"/>
            <a:ext cx="4068000" cy="4068000"/>
            <a:chOff x="2514579" y="1730962"/>
            <a:chExt cx="4068000" cy="40680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6B4750B-4AAC-42F7-B805-9466F4A1C9A2}"/>
                </a:ext>
              </a:extLst>
            </p:cNvPr>
            <p:cNvSpPr/>
            <p:nvPr/>
          </p:nvSpPr>
          <p:spPr>
            <a:xfrm>
              <a:off x="2514579" y="1730962"/>
              <a:ext cx="4068000" cy="4068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7000"/>
                  </a:schemeClr>
                </a:gs>
                <a:gs pos="100000">
                  <a:schemeClr val="bg1"/>
                </a:gs>
              </a:gsLst>
              <a:lin ang="8100000" scaled="1"/>
              <a:tileRect/>
            </a:gradFill>
            <a:ln w="63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" name="Pie 10">
              <a:extLst>
                <a:ext uri="{FF2B5EF4-FFF2-40B4-BE49-F238E27FC236}">
                  <a16:creationId xmlns:a16="http://schemas.microsoft.com/office/drawing/2014/main" id="{E4503497-26BD-41B7-BED4-C1357B2C66A8}"/>
                </a:ext>
              </a:extLst>
            </p:cNvPr>
            <p:cNvSpPr/>
            <p:nvPr/>
          </p:nvSpPr>
          <p:spPr>
            <a:xfrm>
              <a:off x="2514579" y="1730962"/>
              <a:ext cx="4068000" cy="4068000"/>
            </a:xfrm>
            <a:prstGeom prst="pie">
              <a:avLst>
                <a:gd name="adj1" fmla="val 16160009"/>
                <a:gd name="adj2" fmla="val 1927144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/>
                </a:solidFill>
              </a:endParaRPr>
            </a:p>
          </p:txBody>
        </p:sp>
      </p:grp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78FCCFF-DC7F-404E-B30A-356FE0EBA2E3}"/>
              </a:ext>
            </a:extLst>
          </p:cNvPr>
          <p:cNvCxnSpPr>
            <a:cxnSpLocks/>
            <a:endCxn id="4" idx="1"/>
          </p:cNvCxnSpPr>
          <p:nvPr/>
        </p:nvCxnSpPr>
        <p:spPr>
          <a:xfrm>
            <a:off x="3945791" y="3190037"/>
            <a:ext cx="2170998" cy="1"/>
          </a:xfrm>
          <a:prstGeom prst="straightConnector1">
            <a:avLst/>
          </a:prstGeom>
          <a:ln w="38100">
            <a:solidFill>
              <a:schemeClr val="accent3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B296765-CB46-4C66-9644-DE99D5352597}"/>
              </a:ext>
            </a:extLst>
          </p:cNvPr>
          <p:cNvGrpSpPr/>
          <p:nvPr/>
        </p:nvGrpSpPr>
        <p:grpSpPr>
          <a:xfrm>
            <a:off x="1189094" y="2069718"/>
            <a:ext cx="3348000" cy="3348000"/>
            <a:chOff x="2514579" y="1730962"/>
            <a:chExt cx="4068000" cy="406800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F43CDBC-CC41-4073-A5D3-5468A38CCC0C}"/>
                </a:ext>
              </a:extLst>
            </p:cNvPr>
            <p:cNvSpPr/>
            <p:nvPr/>
          </p:nvSpPr>
          <p:spPr>
            <a:xfrm>
              <a:off x="2514579" y="1730962"/>
              <a:ext cx="4068000" cy="4068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 w="63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4" name="Pie 14">
              <a:extLst>
                <a:ext uri="{FF2B5EF4-FFF2-40B4-BE49-F238E27FC236}">
                  <a16:creationId xmlns:a16="http://schemas.microsoft.com/office/drawing/2014/main" id="{E1C0DF17-D352-48DD-B30F-B0499CD48B60}"/>
                </a:ext>
              </a:extLst>
            </p:cNvPr>
            <p:cNvSpPr/>
            <p:nvPr/>
          </p:nvSpPr>
          <p:spPr>
            <a:xfrm>
              <a:off x="2514579" y="1730962"/>
              <a:ext cx="4068000" cy="4068000"/>
            </a:xfrm>
            <a:prstGeom prst="pie">
              <a:avLst>
                <a:gd name="adj1" fmla="val 16145699"/>
                <a:gd name="adj2" fmla="val 46266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/>
                </a:solidFill>
              </a:endParaRPr>
            </a:p>
          </p:txBody>
        </p:sp>
      </p:grp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4E5DEFF-9B78-482B-A986-D45744D60CC9}"/>
              </a:ext>
            </a:extLst>
          </p:cNvPr>
          <p:cNvCxnSpPr>
            <a:cxnSpLocks/>
            <a:endCxn id="5" idx="1"/>
          </p:cNvCxnSpPr>
          <p:nvPr/>
        </p:nvCxnSpPr>
        <p:spPr>
          <a:xfrm>
            <a:off x="3945791" y="4336260"/>
            <a:ext cx="2170998" cy="1"/>
          </a:xfrm>
          <a:prstGeom prst="straightConnector1">
            <a:avLst/>
          </a:prstGeom>
          <a:ln w="38100">
            <a:solidFill>
              <a:schemeClr val="accent2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38FF5A9-1337-4200-85F4-463F745F2ED3}"/>
              </a:ext>
            </a:extLst>
          </p:cNvPr>
          <p:cNvGrpSpPr/>
          <p:nvPr/>
        </p:nvGrpSpPr>
        <p:grpSpPr>
          <a:xfrm>
            <a:off x="1549094" y="2429718"/>
            <a:ext cx="2628000" cy="2628000"/>
            <a:chOff x="2514579" y="1730962"/>
            <a:chExt cx="4068000" cy="40680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8AC0633-7846-4E33-94A5-6F9E62F4F6B2}"/>
                </a:ext>
              </a:extLst>
            </p:cNvPr>
            <p:cNvSpPr/>
            <p:nvPr/>
          </p:nvSpPr>
          <p:spPr>
            <a:xfrm>
              <a:off x="2514579" y="1730962"/>
              <a:ext cx="4068000" cy="4068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7000"/>
                  </a:schemeClr>
                </a:gs>
                <a:gs pos="100000">
                  <a:schemeClr val="bg1"/>
                </a:gs>
              </a:gsLst>
              <a:lin ang="8100000" scaled="1"/>
              <a:tileRect/>
            </a:gradFill>
            <a:ln w="63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8" name="Pie 18">
              <a:extLst>
                <a:ext uri="{FF2B5EF4-FFF2-40B4-BE49-F238E27FC236}">
                  <a16:creationId xmlns:a16="http://schemas.microsoft.com/office/drawing/2014/main" id="{481F06EA-4D72-4A0B-A17D-A4B9BC00D0A6}"/>
                </a:ext>
              </a:extLst>
            </p:cNvPr>
            <p:cNvSpPr/>
            <p:nvPr/>
          </p:nvSpPr>
          <p:spPr>
            <a:xfrm>
              <a:off x="2514579" y="1730962"/>
              <a:ext cx="4068000" cy="4068000"/>
            </a:xfrm>
            <a:prstGeom prst="pie">
              <a:avLst>
                <a:gd name="adj1" fmla="val 16176551"/>
                <a:gd name="adj2" fmla="val 5277948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5424FD4-F1B6-41EC-B04F-B7221BE999EF}"/>
              </a:ext>
            </a:extLst>
          </p:cNvPr>
          <p:cNvGrpSpPr/>
          <p:nvPr/>
        </p:nvGrpSpPr>
        <p:grpSpPr>
          <a:xfrm>
            <a:off x="1909094" y="2789718"/>
            <a:ext cx="1908000" cy="1908000"/>
            <a:chOff x="2514579" y="1730962"/>
            <a:chExt cx="4068000" cy="406800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E357421-E8FE-4D3D-A84C-1CCBA0C3E66A}"/>
                </a:ext>
              </a:extLst>
            </p:cNvPr>
            <p:cNvSpPr/>
            <p:nvPr/>
          </p:nvSpPr>
          <p:spPr>
            <a:xfrm>
              <a:off x="2514579" y="1730962"/>
              <a:ext cx="4068000" cy="4068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 w="63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1" name="Pie 21">
              <a:extLst>
                <a:ext uri="{FF2B5EF4-FFF2-40B4-BE49-F238E27FC236}">
                  <a16:creationId xmlns:a16="http://schemas.microsoft.com/office/drawing/2014/main" id="{43FA9A8E-EB24-47EC-8FE6-6640778FB848}"/>
                </a:ext>
              </a:extLst>
            </p:cNvPr>
            <p:cNvSpPr/>
            <p:nvPr/>
          </p:nvSpPr>
          <p:spPr>
            <a:xfrm>
              <a:off x="2514579" y="1730962"/>
              <a:ext cx="4068000" cy="4068000"/>
            </a:xfrm>
            <a:prstGeom prst="pie">
              <a:avLst>
                <a:gd name="adj1" fmla="val 16115061"/>
                <a:gd name="adj2" fmla="val 799925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/>
                </a:solidFill>
              </a:endParaRPr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07E81AE4-9D19-4498-B019-745CA57C69C0}"/>
              </a:ext>
            </a:extLst>
          </p:cNvPr>
          <p:cNvSpPr/>
          <p:nvPr/>
        </p:nvSpPr>
        <p:spPr>
          <a:xfrm>
            <a:off x="2269094" y="3149718"/>
            <a:ext cx="1188000" cy="118800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23" name="Elbow Connector 23">
            <a:extLst>
              <a:ext uri="{FF2B5EF4-FFF2-40B4-BE49-F238E27FC236}">
                <a16:creationId xmlns:a16="http://schemas.microsoft.com/office/drawing/2014/main" id="{F532F9F6-EDDC-465E-ABE4-36C5E4D4EC2A}"/>
              </a:ext>
            </a:extLst>
          </p:cNvPr>
          <p:cNvCxnSpPr>
            <a:cxnSpLocks/>
            <a:stCxn id="6" idx="1"/>
          </p:cNvCxnSpPr>
          <p:nvPr/>
        </p:nvCxnSpPr>
        <p:spPr>
          <a:xfrm rot="10800000">
            <a:off x="2333075" y="4520098"/>
            <a:ext cx="3783714" cy="962387"/>
          </a:xfrm>
          <a:prstGeom prst="bentConnector3">
            <a:avLst>
              <a:gd name="adj1" fmla="val 99031"/>
            </a:avLst>
          </a:prstGeom>
          <a:ln w="38100">
            <a:solidFill>
              <a:schemeClr val="accent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5795546-B39A-4549-9947-4C8E7DD064C0}"/>
              </a:ext>
            </a:extLst>
          </p:cNvPr>
          <p:cNvGrpSpPr/>
          <p:nvPr/>
        </p:nvGrpSpPr>
        <p:grpSpPr>
          <a:xfrm>
            <a:off x="7066535" y="1596239"/>
            <a:ext cx="3827856" cy="710483"/>
            <a:chOff x="6210998" y="1433695"/>
            <a:chExt cx="2688349" cy="710483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7FC519F-03D1-4811-BE8D-8BA58C6B59D7}"/>
                </a:ext>
              </a:extLst>
            </p:cNvPr>
            <p:cNvSpPr txBox="1"/>
            <p:nvPr/>
          </p:nvSpPr>
          <p:spPr>
            <a:xfrm>
              <a:off x="6210998" y="1433695"/>
              <a:ext cx="268834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b="1" dirty="0">
                  <a:solidFill>
                    <a:schemeClr val="bg1"/>
                  </a:solidFill>
                  <a:cs typeface="Arial" pitchFamily="34" charset="0"/>
                </a:rPr>
                <a:t>ICAO requirements inclusion</a:t>
              </a:r>
              <a:endParaRPr lang="ko-KR" altLang="en-US" sz="12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B93BC49-E401-4766-87BB-4303DFD9333E}"/>
                </a:ext>
              </a:extLst>
            </p:cNvPr>
            <p:cNvSpPr txBox="1"/>
            <p:nvPr/>
          </p:nvSpPr>
          <p:spPr>
            <a:xfrm>
              <a:off x="6210998" y="1682513"/>
              <a:ext cx="268834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bg1"/>
                  </a:solidFill>
                </a:rPr>
                <a:t>Update the regulations with latest ICAO amendments as per SACAA internal gap analysis</a:t>
              </a:r>
              <a:endParaRPr lang="ko-KR" altLang="en-US" sz="12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0B4F068-BDB7-485A-B6AA-AB8225DB73B5}"/>
              </a:ext>
            </a:extLst>
          </p:cNvPr>
          <p:cNvGrpSpPr/>
          <p:nvPr/>
        </p:nvGrpSpPr>
        <p:grpSpPr>
          <a:xfrm>
            <a:off x="7066535" y="2737982"/>
            <a:ext cx="3827856" cy="895149"/>
            <a:chOff x="6210998" y="1433695"/>
            <a:chExt cx="2688349" cy="895149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9D06239-F280-4F3E-8B1F-9D079FB4549B}"/>
                </a:ext>
              </a:extLst>
            </p:cNvPr>
            <p:cNvSpPr txBox="1"/>
            <p:nvPr/>
          </p:nvSpPr>
          <p:spPr>
            <a:xfrm>
              <a:off x="6210998" y="1433695"/>
              <a:ext cx="268834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b="1" dirty="0">
                  <a:solidFill>
                    <a:schemeClr val="bg1"/>
                  </a:solidFill>
                  <a:cs typeface="Arial" pitchFamily="34" charset="0"/>
                </a:rPr>
                <a:t>Addressing Risk </a:t>
              </a:r>
              <a:endParaRPr lang="ko-KR" altLang="en-US" sz="12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03A4051-357F-427C-AA22-EAE17C161F8B}"/>
                </a:ext>
              </a:extLst>
            </p:cNvPr>
            <p:cNvSpPr txBox="1"/>
            <p:nvPr/>
          </p:nvSpPr>
          <p:spPr>
            <a:xfrm>
              <a:off x="6210998" y="1682513"/>
              <a:ext cx="26883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bg1"/>
                  </a:solidFill>
                </a:rPr>
                <a:t>To curb the rate of incidents that has been growing due to changes in the  industry e.g., ecommerce and  Lithium batteries </a:t>
              </a:r>
              <a:endParaRPr lang="ko-KR" altLang="en-US" sz="12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6D28C1A-8F0B-4F56-A8F1-44B1A456EDDB}"/>
              </a:ext>
            </a:extLst>
          </p:cNvPr>
          <p:cNvGrpSpPr/>
          <p:nvPr/>
        </p:nvGrpSpPr>
        <p:grpSpPr>
          <a:xfrm>
            <a:off x="7066535" y="3898775"/>
            <a:ext cx="3827856" cy="710483"/>
            <a:chOff x="6210998" y="1433695"/>
            <a:chExt cx="2688349" cy="710483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0FA2480-0971-4F52-B955-F1C8CD7213E9}"/>
                </a:ext>
              </a:extLst>
            </p:cNvPr>
            <p:cNvSpPr txBox="1"/>
            <p:nvPr/>
          </p:nvSpPr>
          <p:spPr>
            <a:xfrm>
              <a:off x="6210998" y="1433695"/>
              <a:ext cx="268834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b="1" dirty="0">
                  <a:solidFill>
                    <a:schemeClr val="bg1"/>
                  </a:solidFill>
                  <a:cs typeface="Arial" pitchFamily="34" charset="0"/>
                </a:rPr>
                <a:t>Improved structure of Regulations  </a:t>
              </a:r>
              <a:endParaRPr lang="ko-KR" altLang="en-US" sz="12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111D437-117D-49CE-9DA5-8A4FCEED7846}"/>
                </a:ext>
              </a:extLst>
            </p:cNvPr>
            <p:cNvSpPr txBox="1"/>
            <p:nvPr/>
          </p:nvSpPr>
          <p:spPr>
            <a:xfrm>
              <a:off x="6210998" y="1682513"/>
              <a:ext cx="268834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bg1"/>
                  </a:solidFill>
                  <a:cs typeface="Arial" pitchFamily="34" charset="0"/>
                </a:rPr>
                <a:t>Better structure and readability of the regulation.  The Regulation has been subdivided into 4 subparts</a:t>
              </a:r>
              <a:endParaRPr lang="ko-KR" altLang="en-US" sz="12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47B067D-AFF6-4D62-B3F1-39EA0D7B8D55}"/>
              </a:ext>
            </a:extLst>
          </p:cNvPr>
          <p:cNvGrpSpPr/>
          <p:nvPr/>
        </p:nvGrpSpPr>
        <p:grpSpPr>
          <a:xfrm>
            <a:off x="7066535" y="5038619"/>
            <a:ext cx="3827856" cy="895149"/>
            <a:chOff x="6210998" y="1433695"/>
            <a:chExt cx="2688349" cy="895149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1B6978D-FDA0-4568-8D38-BE6F3794FC0F}"/>
                </a:ext>
              </a:extLst>
            </p:cNvPr>
            <p:cNvSpPr txBox="1"/>
            <p:nvPr/>
          </p:nvSpPr>
          <p:spPr>
            <a:xfrm>
              <a:off x="6210998" y="1433695"/>
              <a:ext cx="268834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b="1" dirty="0">
                  <a:solidFill>
                    <a:schemeClr val="bg1"/>
                  </a:solidFill>
                  <a:cs typeface="Arial" pitchFamily="34" charset="0"/>
                </a:rPr>
                <a:t>Relevant Regulations</a:t>
              </a:r>
              <a:endParaRPr lang="ko-KR" altLang="en-US" sz="12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ABF87A2-A60F-4D20-8C0A-61FB2DAD2A59}"/>
                </a:ext>
              </a:extLst>
            </p:cNvPr>
            <p:cNvSpPr txBox="1"/>
            <p:nvPr/>
          </p:nvSpPr>
          <p:spPr>
            <a:xfrm>
              <a:off x="6210998" y="1682513"/>
              <a:ext cx="26883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bg1"/>
                  </a:solidFill>
                  <a:cs typeface="Arial" pitchFamily="34" charset="0"/>
                </a:rPr>
                <a:t>Developing regulations that are appropriate and  relevant to the South African Industry –clarity on approval processes</a:t>
              </a:r>
              <a:endParaRPr lang="ko-KR" altLang="en-US" sz="12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pic>
        <p:nvPicPr>
          <p:cNvPr id="40" name="Picture 1">
            <a:extLst>
              <a:ext uri="{FF2B5EF4-FFF2-40B4-BE49-F238E27FC236}">
                <a16:creationId xmlns:a16="http://schemas.microsoft.com/office/drawing/2014/main" id="{BA9C757E-8EFC-5F7A-FF3C-7707D97649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9" y="2603849"/>
            <a:ext cx="6181471" cy="1981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5" name="Supply_chai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6B1EB1A-6C78-CFF9-1C37-0BB878473655}"/>
              </a:ext>
            </a:extLst>
          </p:cNvPr>
          <p:cNvGrpSpPr>
            <a:grpSpLocks noChangeAspect="1"/>
          </p:cNvGrpSpPr>
          <p:nvPr/>
        </p:nvGrpSpPr>
        <p:grpSpPr>
          <a:xfrm>
            <a:off x="6450729" y="2806029"/>
            <a:ext cx="543562" cy="584645"/>
            <a:chOff x="6022609" y="2781995"/>
            <a:chExt cx="2818405" cy="3031428"/>
          </a:xfrm>
          <a:solidFill>
            <a:schemeClr val="bg1"/>
          </a:solidFill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2126C65-E576-C8B2-BE82-06E1B8309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5522" y="4680964"/>
              <a:ext cx="1228961" cy="362318"/>
            </a:xfrm>
            <a:custGeom>
              <a:avLst/>
              <a:gdLst>
                <a:gd name="connsiteX0" fmla="*/ 1015947 w 1228961"/>
                <a:gd name="connsiteY0" fmla="*/ 0 h 362318"/>
                <a:gd name="connsiteX1" fmla="*/ 1028645 w 1228961"/>
                <a:gd name="connsiteY1" fmla="*/ 2790 h 362318"/>
                <a:gd name="connsiteX2" fmla="*/ 1124956 w 1228961"/>
                <a:gd name="connsiteY2" fmla="*/ 38905 h 362318"/>
                <a:gd name="connsiteX3" fmla="*/ 1211981 w 1228961"/>
                <a:gd name="connsiteY3" fmla="*/ 103588 h 362318"/>
                <a:gd name="connsiteX4" fmla="*/ 1228961 w 1228961"/>
                <a:gd name="connsiteY4" fmla="*/ 157490 h 362318"/>
                <a:gd name="connsiteX5" fmla="*/ 1211981 w 1228961"/>
                <a:gd name="connsiteY5" fmla="*/ 213548 h 362318"/>
                <a:gd name="connsiteX6" fmla="*/ 1169530 w 1228961"/>
                <a:gd name="connsiteY6" fmla="*/ 254514 h 362318"/>
                <a:gd name="connsiteX7" fmla="*/ 1033686 w 1228961"/>
                <a:gd name="connsiteY7" fmla="*/ 312728 h 362318"/>
                <a:gd name="connsiteX8" fmla="*/ 615542 w 1228961"/>
                <a:gd name="connsiteY8" fmla="*/ 362318 h 362318"/>
                <a:gd name="connsiteX9" fmla="*/ 320506 w 1228961"/>
                <a:gd name="connsiteY9" fmla="*/ 340757 h 362318"/>
                <a:gd name="connsiteX10" fmla="*/ 104006 w 1228961"/>
                <a:gd name="connsiteY10" fmla="*/ 278231 h 362318"/>
                <a:gd name="connsiteX11" fmla="*/ 16981 w 1228961"/>
                <a:gd name="connsiteY11" fmla="*/ 213548 h 362318"/>
                <a:gd name="connsiteX12" fmla="*/ 0 w 1228961"/>
                <a:gd name="connsiteY12" fmla="*/ 157490 h 362318"/>
                <a:gd name="connsiteX13" fmla="*/ 16981 w 1228961"/>
                <a:gd name="connsiteY13" fmla="*/ 103588 h 362318"/>
                <a:gd name="connsiteX14" fmla="*/ 59432 w 1228961"/>
                <a:gd name="connsiteY14" fmla="*/ 62622 h 362318"/>
                <a:gd name="connsiteX15" fmla="*/ 195276 w 1228961"/>
                <a:gd name="connsiteY15" fmla="*/ 4407 h 362318"/>
                <a:gd name="connsiteX16" fmla="*/ 213024 w 1228961"/>
                <a:gd name="connsiteY16" fmla="*/ 42 h 362318"/>
                <a:gd name="connsiteX17" fmla="*/ 213024 w 1228961"/>
                <a:gd name="connsiteY17" fmla="*/ 74477 h 362318"/>
                <a:gd name="connsiteX18" fmla="*/ 133721 w 1228961"/>
                <a:gd name="connsiteY18" fmla="*/ 103588 h 362318"/>
                <a:gd name="connsiteX19" fmla="*/ 74290 w 1228961"/>
                <a:gd name="connsiteY19" fmla="*/ 144553 h 362318"/>
                <a:gd name="connsiteX20" fmla="*/ 70045 w 1228961"/>
                <a:gd name="connsiteY20" fmla="*/ 157490 h 362318"/>
                <a:gd name="connsiteX21" fmla="*/ 74290 w 1228961"/>
                <a:gd name="connsiteY21" fmla="*/ 170426 h 362318"/>
                <a:gd name="connsiteX22" fmla="*/ 99760 w 1228961"/>
                <a:gd name="connsiteY22" fmla="*/ 194143 h 362318"/>
                <a:gd name="connsiteX23" fmla="*/ 214379 w 1228961"/>
                <a:gd name="connsiteY23" fmla="*/ 243733 h 362318"/>
                <a:gd name="connsiteX24" fmla="*/ 615542 w 1228961"/>
                <a:gd name="connsiteY24" fmla="*/ 291167 h 362318"/>
                <a:gd name="connsiteX25" fmla="*/ 897842 w 1228961"/>
                <a:gd name="connsiteY25" fmla="*/ 269606 h 362318"/>
                <a:gd name="connsiteX26" fmla="*/ 1095240 w 1228961"/>
                <a:gd name="connsiteY26" fmla="*/ 213548 h 362318"/>
                <a:gd name="connsiteX27" fmla="*/ 1154672 w 1228961"/>
                <a:gd name="connsiteY27" fmla="*/ 170426 h 362318"/>
                <a:gd name="connsiteX28" fmla="*/ 1158917 w 1228961"/>
                <a:gd name="connsiteY28" fmla="*/ 157490 h 362318"/>
                <a:gd name="connsiteX29" fmla="*/ 1154672 w 1228961"/>
                <a:gd name="connsiteY29" fmla="*/ 144553 h 362318"/>
                <a:gd name="connsiteX30" fmla="*/ 1129201 w 1228961"/>
                <a:gd name="connsiteY30" fmla="*/ 122992 h 362318"/>
                <a:gd name="connsiteX31" fmla="*/ 1081443 w 1228961"/>
                <a:gd name="connsiteY31" fmla="*/ 97389 h 362318"/>
                <a:gd name="connsiteX32" fmla="*/ 1015947 w 1228961"/>
                <a:gd name="connsiteY32" fmla="*/ 73892 h 362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228961" h="362318">
                  <a:moveTo>
                    <a:pt x="1015947" y="0"/>
                  </a:moveTo>
                  <a:lnTo>
                    <a:pt x="1028645" y="2790"/>
                  </a:lnTo>
                  <a:cubicBezTo>
                    <a:pt x="1064993" y="13032"/>
                    <a:pt x="1097362" y="24890"/>
                    <a:pt x="1124956" y="38905"/>
                  </a:cubicBezTo>
                  <a:cubicBezTo>
                    <a:pt x="1163162" y="56154"/>
                    <a:pt x="1192878" y="75558"/>
                    <a:pt x="1211981" y="103588"/>
                  </a:cubicBezTo>
                  <a:cubicBezTo>
                    <a:pt x="1222594" y="118680"/>
                    <a:pt x="1228961" y="138085"/>
                    <a:pt x="1228961" y="157490"/>
                  </a:cubicBezTo>
                  <a:cubicBezTo>
                    <a:pt x="1228961" y="179051"/>
                    <a:pt x="1222594" y="198455"/>
                    <a:pt x="1211981" y="213548"/>
                  </a:cubicBezTo>
                  <a:cubicBezTo>
                    <a:pt x="1201368" y="228641"/>
                    <a:pt x="1186510" y="241577"/>
                    <a:pt x="1169530" y="254514"/>
                  </a:cubicBezTo>
                  <a:cubicBezTo>
                    <a:pt x="1133446" y="276075"/>
                    <a:pt x="1088872" y="295479"/>
                    <a:pt x="1033686" y="312728"/>
                  </a:cubicBezTo>
                  <a:cubicBezTo>
                    <a:pt x="925435" y="342913"/>
                    <a:pt x="776856" y="362318"/>
                    <a:pt x="615542" y="362318"/>
                  </a:cubicBezTo>
                  <a:cubicBezTo>
                    <a:pt x="507292" y="362318"/>
                    <a:pt x="407531" y="353694"/>
                    <a:pt x="320506" y="340757"/>
                  </a:cubicBezTo>
                  <a:cubicBezTo>
                    <a:pt x="233482" y="325665"/>
                    <a:pt x="159192" y="304104"/>
                    <a:pt x="104006" y="278231"/>
                  </a:cubicBezTo>
                  <a:cubicBezTo>
                    <a:pt x="65800" y="260982"/>
                    <a:pt x="36084" y="239421"/>
                    <a:pt x="16981" y="213548"/>
                  </a:cubicBezTo>
                  <a:cubicBezTo>
                    <a:pt x="6368" y="198455"/>
                    <a:pt x="0" y="179051"/>
                    <a:pt x="0" y="157490"/>
                  </a:cubicBezTo>
                  <a:cubicBezTo>
                    <a:pt x="0" y="138085"/>
                    <a:pt x="6368" y="118680"/>
                    <a:pt x="16981" y="103588"/>
                  </a:cubicBezTo>
                  <a:cubicBezTo>
                    <a:pt x="27594" y="88495"/>
                    <a:pt x="42451" y="75558"/>
                    <a:pt x="59432" y="62622"/>
                  </a:cubicBezTo>
                  <a:cubicBezTo>
                    <a:pt x="95515" y="38905"/>
                    <a:pt x="140089" y="19500"/>
                    <a:pt x="195276" y="4407"/>
                  </a:cubicBezTo>
                  <a:lnTo>
                    <a:pt x="213024" y="42"/>
                  </a:lnTo>
                  <a:lnTo>
                    <a:pt x="213024" y="74477"/>
                  </a:lnTo>
                  <a:lnTo>
                    <a:pt x="133721" y="103588"/>
                  </a:lnTo>
                  <a:cubicBezTo>
                    <a:pt x="101883" y="118680"/>
                    <a:pt x="82780" y="133773"/>
                    <a:pt x="74290" y="144553"/>
                  </a:cubicBezTo>
                  <a:cubicBezTo>
                    <a:pt x="70045" y="151021"/>
                    <a:pt x="70045" y="155334"/>
                    <a:pt x="70045" y="157490"/>
                  </a:cubicBezTo>
                  <a:cubicBezTo>
                    <a:pt x="70045" y="161802"/>
                    <a:pt x="70045" y="163958"/>
                    <a:pt x="74290" y="170426"/>
                  </a:cubicBezTo>
                  <a:cubicBezTo>
                    <a:pt x="78535" y="176895"/>
                    <a:pt x="87025" y="185519"/>
                    <a:pt x="99760" y="194143"/>
                  </a:cubicBezTo>
                  <a:cubicBezTo>
                    <a:pt x="125231" y="211392"/>
                    <a:pt x="163437" y="228641"/>
                    <a:pt x="214379" y="243733"/>
                  </a:cubicBezTo>
                  <a:cubicBezTo>
                    <a:pt x="314139" y="271762"/>
                    <a:pt x="456350" y="291167"/>
                    <a:pt x="615542" y="291167"/>
                  </a:cubicBezTo>
                  <a:cubicBezTo>
                    <a:pt x="717425" y="291167"/>
                    <a:pt x="815062" y="282543"/>
                    <a:pt x="897842" y="269606"/>
                  </a:cubicBezTo>
                  <a:cubicBezTo>
                    <a:pt x="980622" y="254514"/>
                    <a:pt x="1048544" y="235109"/>
                    <a:pt x="1095240" y="213548"/>
                  </a:cubicBezTo>
                  <a:cubicBezTo>
                    <a:pt x="1127078" y="198455"/>
                    <a:pt x="1146181" y="183363"/>
                    <a:pt x="1154672" y="170426"/>
                  </a:cubicBezTo>
                  <a:cubicBezTo>
                    <a:pt x="1158917" y="163958"/>
                    <a:pt x="1158917" y="161802"/>
                    <a:pt x="1158917" y="157490"/>
                  </a:cubicBezTo>
                  <a:cubicBezTo>
                    <a:pt x="1158917" y="155334"/>
                    <a:pt x="1158917" y="151021"/>
                    <a:pt x="1154672" y="144553"/>
                  </a:cubicBezTo>
                  <a:cubicBezTo>
                    <a:pt x="1150427" y="138085"/>
                    <a:pt x="1141936" y="131617"/>
                    <a:pt x="1129201" y="122992"/>
                  </a:cubicBezTo>
                  <a:cubicBezTo>
                    <a:pt x="1116466" y="114368"/>
                    <a:pt x="1100547" y="105744"/>
                    <a:pt x="1081443" y="97389"/>
                  </a:cubicBezTo>
                  <a:lnTo>
                    <a:pt x="1015947" y="7389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4B57F7F-A616-0F5B-9AAE-69F6FEE83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774" y="4240360"/>
              <a:ext cx="868467" cy="655443"/>
            </a:xfrm>
            <a:custGeom>
              <a:avLst/>
              <a:gdLst>
                <a:gd name="connsiteX0" fmla="*/ 0 w 868467"/>
                <a:gd name="connsiteY0" fmla="*/ 278568 h 655443"/>
                <a:gd name="connsiteX1" fmla="*/ 71496 w 868467"/>
                <a:gd name="connsiteY1" fmla="*/ 278568 h 655443"/>
                <a:gd name="connsiteX2" fmla="*/ 71496 w 868467"/>
                <a:gd name="connsiteY2" fmla="*/ 529479 h 655443"/>
                <a:gd name="connsiteX3" fmla="*/ 517295 w 868467"/>
                <a:gd name="connsiteY3" fmla="*/ 582853 h 655443"/>
                <a:gd name="connsiteX4" fmla="*/ 796971 w 868467"/>
                <a:gd name="connsiteY4" fmla="*/ 531614 h 655443"/>
                <a:gd name="connsiteX5" fmla="*/ 796971 w 868467"/>
                <a:gd name="connsiteY5" fmla="*/ 278568 h 655443"/>
                <a:gd name="connsiteX6" fmla="*/ 868467 w 868467"/>
                <a:gd name="connsiteY6" fmla="*/ 278568 h 655443"/>
                <a:gd name="connsiteX7" fmla="*/ 868467 w 868467"/>
                <a:gd name="connsiteY7" fmla="*/ 591393 h 655443"/>
                <a:gd name="connsiteX8" fmla="*/ 519398 w 868467"/>
                <a:gd name="connsiteY8" fmla="*/ 655443 h 655443"/>
                <a:gd name="connsiteX9" fmla="*/ 0 w 868467"/>
                <a:gd name="connsiteY9" fmla="*/ 593528 h 655443"/>
                <a:gd name="connsiteX10" fmla="*/ 524354 w 868467"/>
                <a:gd name="connsiteY10" fmla="*/ 32772 h 655443"/>
                <a:gd name="connsiteX11" fmla="*/ 546964 w 868467"/>
                <a:gd name="connsiteY11" fmla="*/ 70455 h 655443"/>
                <a:gd name="connsiteX12" fmla="*/ 517295 w 868467"/>
                <a:gd name="connsiteY12" fmla="*/ 70455 h 655443"/>
                <a:gd name="connsiteX13" fmla="*/ 501745 w 868467"/>
                <a:gd name="connsiteY13" fmla="*/ 70455 h 655443"/>
                <a:gd name="connsiteX14" fmla="*/ 50468 w 868467"/>
                <a:gd name="connsiteY14" fmla="*/ 0 h 655443"/>
                <a:gd name="connsiteX15" fmla="*/ 815897 w 868467"/>
                <a:gd name="connsiteY15" fmla="*/ 0 h 655443"/>
                <a:gd name="connsiteX16" fmla="*/ 868467 w 868467"/>
                <a:gd name="connsiteY16" fmla="*/ 53375 h 655443"/>
                <a:gd name="connsiteX17" fmla="*/ 868467 w 868467"/>
                <a:gd name="connsiteY17" fmla="*/ 87403 h 655443"/>
                <a:gd name="connsiteX18" fmla="*/ 835690 w 868467"/>
                <a:gd name="connsiteY18" fmla="*/ 32772 h 655443"/>
                <a:gd name="connsiteX19" fmla="*/ 524354 w 868467"/>
                <a:gd name="connsiteY19" fmla="*/ 32772 h 655443"/>
                <a:gd name="connsiteX20" fmla="*/ 32768 w 868467"/>
                <a:gd name="connsiteY20" fmla="*/ 32772 h 655443"/>
                <a:gd name="connsiteX21" fmla="*/ 0 w 868467"/>
                <a:gd name="connsiteY21" fmla="*/ 87386 h 655443"/>
                <a:gd name="connsiteX22" fmla="*/ 0 w 868467"/>
                <a:gd name="connsiteY22" fmla="*/ 49105 h 655443"/>
                <a:gd name="connsiteX23" fmla="*/ 50468 w 868467"/>
                <a:gd name="connsiteY23" fmla="*/ 0 h 655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68467" h="655443">
                  <a:moveTo>
                    <a:pt x="0" y="278568"/>
                  </a:moveTo>
                  <a:lnTo>
                    <a:pt x="71496" y="278568"/>
                  </a:lnTo>
                  <a:lnTo>
                    <a:pt x="71496" y="529479"/>
                  </a:lnTo>
                  <a:lnTo>
                    <a:pt x="517295" y="582853"/>
                  </a:lnTo>
                  <a:lnTo>
                    <a:pt x="796971" y="531614"/>
                  </a:lnTo>
                  <a:lnTo>
                    <a:pt x="796971" y="278568"/>
                  </a:lnTo>
                  <a:lnTo>
                    <a:pt x="868467" y="278568"/>
                  </a:lnTo>
                  <a:lnTo>
                    <a:pt x="868467" y="591393"/>
                  </a:lnTo>
                  <a:lnTo>
                    <a:pt x="519398" y="655443"/>
                  </a:lnTo>
                  <a:lnTo>
                    <a:pt x="0" y="593528"/>
                  </a:lnTo>
                  <a:close/>
                  <a:moveTo>
                    <a:pt x="524354" y="32772"/>
                  </a:moveTo>
                  <a:lnTo>
                    <a:pt x="546964" y="70455"/>
                  </a:lnTo>
                  <a:lnTo>
                    <a:pt x="517295" y="70455"/>
                  </a:lnTo>
                  <a:lnTo>
                    <a:pt x="501745" y="70455"/>
                  </a:lnTo>
                  <a:close/>
                  <a:moveTo>
                    <a:pt x="50468" y="0"/>
                  </a:moveTo>
                  <a:lnTo>
                    <a:pt x="815897" y="0"/>
                  </a:lnTo>
                  <a:cubicBezTo>
                    <a:pt x="845336" y="0"/>
                    <a:pt x="868467" y="23485"/>
                    <a:pt x="868467" y="53375"/>
                  </a:cubicBezTo>
                  <a:lnTo>
                    <a:pt x="868467" y="87403"/>
                  </a:lnTo>
                  <a:lnTo>
                    <a:pt x="835690" y="32772"/>
                  </a:lnTo>
                  <a:lnTo>
                    <a:pt x="524354" y="32772"/>
                  </a:lnTo>
                  <a:lnTo>
                    <a:pt x="32768" y="32772"/>
                  </a:lnTo>
                  <a:lnTo>
                    <a:pt x="0" y="87386"/>
                  </a:lnTo>
                  <a:lnTo>
                    <a:pt x="0" y="49105"/>
                  </a:lnTo>
                  <a:cubicBezTo>
                    <a:pt x="0" y="21350"/>
                    <a:pt x="23131" y="0"/>
                    <a:pt x="50468" y="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355">
              <a:extLst>
                <a:ext uri="{FF2B5EF4-FFF2-40B4-BE49-F238E27FC236}">
                  <a16:creationId xmlns:a16="http://schemas.microsoft.com/office/drawing/2014/main" id="{B44A9F7D-3B64-E43A-43AD-6DEF8661D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5522" y="4240360"/>
              <a:ext cx="770151" cy="311340"/>
            </a:xfrm>
            <a:custGeom>
              <a:avLst/>
              <a:gdLst>
                <a:gd name="T0" fmla="*/ 34 w 47"/>
                <a:gd name="T1" fmla="*/ 17 h 19"/>
                <a:gd name="T2" fmla="*/ 34 w 47"/>
                <a:gd name="T3" fmla="*/ 15 h 19"/>
                <a:gd name="T4" fmla="*/ 8 w 47"/>
                <a:gd name="T5" fmla="*/ 15 h 19"/>
                <a:gd name="T6" fmla="*/ 14 w 47"/>
                <a:gd name="T7" fmla="*/ 5 h 19"/>
                <a:gd name="T8" fmla="*/ 39 w 47"/>
                <a:gd name="T9" fmla="*/ 5 h 19"/>
                <a:gd name="T10" fmla="*/ 32 w 47"/>
                <a:gd name="T11" fmla="*/ 16 h 19"/>
                <a:gd name="T12" fmla="*/ 34 w 47"/>
                <a:gd name="T13" fmla="*/ 17 h 19"/>
                <a:gd name="T14" fmla="*/ 34 w 47"/>
                <a:gd name="T15" fmla="*/ 15 h 19"/>
                <a:gd name="T16" fmla="*/ 34 w 47"/>
                <a:gd name="T17" fmla="*/ 17 h 19"/>
                <a:gd name="T18" fmla="*/ 36 w 47"/>
                <a:gd name="T19" fmla="*/ 18 h 19"/>
                <a:gd name="T20" fmla="*/ 47 w 47"/>
                <a:gd name="T21" fmla="*/ 0 h 19"/>
                <a:gd name="T22" fmla="*/ 12 w 47"/>
                <a:gd name="T23" fmla="*/ 0 h 19"/>
                <a:gd name="T24" fmla="*/ 0 w 47"/>
                <a:gd name="T25" fmla="*/ 19 h 19"/>
                <a:gd name="T26" fmla="*/ 35 w 47"/>
                <a:gd name="T27" fmla="*/ 19 h 19"/>
                <a:gd name="T28" fmla="*/ 36 w 47"/>
                <a:gd name="T29" fmla="*/ 18 h 19"/>
                <a:gd name="T30" fmla="*/ 34 w 47"/>
                <a:gd name="T31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7" h="19">
                  <a:moveTo>
                    <a:pt x="34" y="17"/>
                  </a:moveTo>
                  <a:lnTo>
                    <a:pt x="34" y="15"/>
                  </a:lnTo>
                  <a:lnTo>
                    <a:pt x="8" y="15"/>
                  </a:lnTo>
                  <a:lnTo>
                    <a:pt x="14" y="5"/>
                  </a:lnTo>
                  <a:lnTo>
                    <a:pt x="39" y="5"/>
                  </a:lnTo>
                  <a:lnTo>
                    <a:pt x="32" y="16"/>
                  </a:lnTo>
                  <a:lnTo>
                    <a:pt x="34" y="17"/>
                  </a:lnTo>
                  <a:lnTo>
                    <a:pt x="34" y="15"/>
                  </a:lnTo>
                  <a:lnTo>
                    <a:pt x="34" y="17"/>
                  </a:lnTo>
                  <a:lnTo>
                    <a:pt x="36" y="18"/>
                  </a:lnTo>
                  <a:lnTo>
                    <a:pt x="47" y="0"/>
                  </a:lnTo>
                  <a:lnTo>
                    <a:pt x="12" y="0"/>
                  </a:lnTo>
                  <a:lnTo>
                    <a:pt x="0" y="19"/>
                  </a:lnTo>
                  <a:lnTo>
                    <a:pt x="35" y="19"/>
                  </a:lnTo>
                  <a:lnTo>
                    <a:pt x="36" y="18"/>
                  </a:lnTo>
                  <a:lnTo>
                    <a:pt x="34" y="1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357">
              <a:extLst>
                <a:ext uri="{FF2B5EF4-FFF2-40B4-BE49-F238E27FC236}">
                  <a16:creationId xmlns:a16="http://schemas.microsoft.com/office/drawing/2014/main" id="{C5DF00E2-425B-62CB-7A5A-3C5DCDC1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4584" y="4240360"/>
              <a:ext cx="589899" cy="311340"/>
            </a:xfrm>
            <a:custGeom>
              <a:avLst/>
              <a:gdLst>
                <a:gd name="T0" fmla="*/ 13 w 36"/>
                <a:gd name="T1" fmla="*/ 17 h 19"/>
                <a:gd name="T2" fmla="*/ 13 w 36"/>
                <a:gd name="T3" fmla="*/ 19 h 19"/>
                <a:gd name="T4" fmla="*/ 36 w 36"/>
                <a:gd name="T5" fmla="*/ 19 h 19"/>
                <a:gd name="T6" fmla="*/ 24 w 36"/>
                <a:gd name="T7" fmla="*/ 0 h 19"/>
                <a:gd name="T8" fmla="*/ 0 w 36"/>
                <a:gd name="T9" fmla="*/ 0 h 19"/>
                <a:gd name="T10" fmla="*/ 11 w 36"/>
                <a:gd name="T11" fmla="*/ 19 h 19"/>
                <a:gd name="T12" fmla="*/ 13 w 36"/>
                <a:gd name="T13" fmla="*/ 19 h 19"/>
                <a:gd name="T14" fmla="*/ 13 w 36"/>
                <a:gd name="T15" fmla="*/ 17 h 19"/>
                <a:gd name="T16" fmla="*/ 14 w 36"/>
                <a:gd name="T17" fmla="*/ 16 h 19"/>
                <a:gd name="T18" fmla="*/ 8 w 36"/>
                <a:gd name="T19" fmla="*/ 5 h 19"/>
                <a:gd name="T20" fmla="*/ 22 w 36"/>
                <a:gd name="T21" fmla="*/ 5 h 19"/>
                <a:gd name="T22" fmla="*/ 28 w 36"/>
                <a:gd name="T23" fmla="*/ 15 h 19"/>
                <a:gd name="T24" fmla="*/ 13 w 36"/>
                <a:gd name="T25" fmla="*/ 15 h 19"/>
                <a:gd name="T26" fmla="*/ 13 w 36"/>
                <a:gd name="T27" fmla="*/ 17 h 19"/>
                <a:gd name="T28" fmla="*/ 14 w 36"/>
                <a:gd name="T29" fmla="*/ 16 h 19"/>
                <a:gd name="T30" fmla="*/ 13 w 36"/>
                <a:gd name="T31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19">
                  <a:moveTo>
                    <a:pt x="13" y="17"/>
                  </a:moveTo>
                  <a:lnTo>
                    <a:pt x="13" y="19"/>
                  </a:lnTo>
                  <a:lnTo>
                    <a:pt x="36" y="19"/>
                  </a:lnTo>
                  <a:lnTo>
                    <a:pt x="24" y="0"/>
                  </a:lnTo>
                  <a:lnTo>
                    <a:pt x="0" y="0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4" y="16"/>
                  </a:lnTo>
                  <a:lnTo>
                    <a:pt x="8" y="5"/>
                  </a:lnTo>
                  <a:lnTo>
                    <a:pt x="22" y="5"/>
                  </a:lnTo>
                  <a:lnTo>
                    <a:pt x="28" y="15"/>
                  </a:lnTo>
                  <a:lnTo>
                    <a:pt x="13" y="15"/>
                  </a:lnTo>
                  <a:lnTo>
                    <a:pt x="13" y="17"/>
                  </a:lnTo>
                  <a:lnTo>
                    <a:pt x="14" y="16"/>
                  </a:lnTo>
                  <a:lnTo>
                    <a:pt x="13" y="1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6A8EBD64-A59D-03AD-ADDC-28D9E7EA3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623" y="3785926"/>
              <a:ext cx="901239" cy="306964"/>
            </a:xfrm>
            <a:custGeom>
              <a:avLst/>
              <a:gdLst>
                <a:gd name="connsiteX0" fmla="*/ 557137 w 901239"/>
                <a:gd name="connsiteY0" fmla="*/ 0 h 306964"/>
                <a:gd name="connsiteX1" fmla="*/ 561681 w 901239"/>
                <a:gd name="connsiteY1" fmla="*/ 187 h 306964"/>
                <a:gd name="connsiteX2" fmla="*/ 663176 w 901239"/>
                <a:gd name="connsiteY2" fmla="*/ 12802 h 306964"/>
                <a:gd name="connsiteX3" fmla="*/ 820468 w 901239"/>
                <a:gd name="connsiteY3" fmla="*/ 57892 h 306964"/>
                <a:gd name="connsiteX4" fmla="*/ 886360 w 901239"/>
                <a:gd name="connsiteY4" fmla="*/ 107277 h 306964"/>
                <a:gd name="connsiteX5" fmla="*/ 901239 w 901239"/>
                <a:gd name="connsiteY5" fmla="*/ 152368 h 306964"/>
                <a:gd name="connsiteX6" fmla="*/ 886360 w 901239"/>
                <a:gd name="connsiteY6" fmla="*/ 197458 h 306964"/>
                <a:gd name="connsiteX7" fmla="*/ 852351 w 901239"/>
                <a:gd name="connsiteY7" fmla="*/ 227519 h 306964"/>
                <a:gd name="connsiteX8" fmla="*/ 752450 w 901239"/>
                <a:gd name="connsiteY8" fmla="*/ 270462 h 306964"/>
                <a:gd name="connsiteX9" fmla="*/ 450620 w 901239"/>
                <a:gd name="connsiteY9" fmla="*/ 306964 h 306964"/>
                <a:gd name="connsiteX10" fmla="*/ 238063 w 901239"/>
                <a:gd name="connsiteY10" fmla="*/ 291934 h 306964"/>
                <a:gd name="connsiteX11" fmla="*/ 80772 w 901239"/>
                <a:gd name="connsiteY11" fmla="*/ 246843 h 306964"/>
                <a:gd name="connsiteX12" fmla="*/ 14879 w 901239"/>
                <a:gd name="connsiteY12" fmla="*/ 197458 h 306964"/>
                <a:gd name="connsiteX13" fmla="*/ 0 w 901239"/>
                <a:gd name="connsiteY13" fmla="*/ 152368 h 306964"/>
                <a:gd name="connsiteX14" fmla="*/ 14879 w 901239"/>
                <a:gd name="connsiteY14" fmla="*/ 107277 h 306964"/>
                <a:gd name="connsiteX15" fmla="*/ 48888 w 901239"/>
                <a:gd name="connsiteY15" fmla="*/ 75070 h 306964"/>
                <a:gd name="connsiteX16" fmla="*/ 146664 w 901239"/>
                <a:gd name="connsiteY16" fmla="*/ 32126 h 306964"/>
                <a:gd name="connsiteX17" fmla="*/ 285092 w 901239"/>
                <a:gd name="connsiteY17" fmla="*/ 5823 h 306964"/>
                <a:gd name="connsiteX18" fmla="*/ 327721 w 901239"/>
                <a:gd name="connsiteY18" fmla="*/ 3197 h 306964"/>
                <a:gd name="connsiteX19" fmla="*/ 327721 w 901239"/>
                <a:gd name="connsiteY19" fmla="*/ 73962 h 306964"/>
                <a:gd name="connsiteX20" fmla="*/ 255068 w 901239"/>
                <a:gd name="connsiteY20" fmla="*/ 81511 h 306964"/>
                <a:gd name="connsiteX21" fmla="*/ 116906 w 901239"/>
                <a:gd name="connsiteY21" fmla="*/ 120160 h 306964"/>
                <a:gd name="connsiteX22" fmla="*/ 74395 w 901239"/>
                <a:gd name="connsiteY22" fmla="*/ 145926 h 306964"/>
                <a:gd name="connsiteX23" fmla="*/ 72269 w 901239"/>
                <a:gd name="connsiteY23" fmla="*/ 152368 h 306964"/>
                <a:gd name="connsiteX24" fmla="*/ 72269 w 901239"/>
                <a:gd name="connsiteY24" fmla="*/ 154515 h 306964"/>
                <a:gd name="connsiteX25" fmla="*/ 89274 w 901239"/>
                <a:gd name="connsiteY25" fmla="*/ 169545 h 306964"/>
                <a:gd name="connsiteX26" fmla="*/ 167920 w 901239"/>
                <a:gd name="connsiteY26" fmla="*/ 201753 h 306964"/>
                <a:gd name="connsiteX27" fmla="*/ 450620 w 901239"/>
                <a:gd name="connsiteY27" fmla="*/ 236107 h 306964"/>
                <a:gd name="connsiteX28" fmla="*/ 646172 w 901239"/>
                <a:gd name="connsiteY28" fmla="*/ 221077 h 306964"/>
                <a:gd name="connsiteX29" fmla="*/ 784333 w 901239"/>
                <a:gd name="connsiteY29" fmla="*/ 184575 h 306964"/>
                <a:gd name="connsiteX30" fmla="*/ 826844 w 901239"/>
                <a:gd name="connsiteY30" fmla="*/ 156662 h 306964"/>
                <a:gd name="connsiteX31" fmla="*/ 828970 w 901239"/>
                <a:gd name="connsiteY31" fmla="*/ 152368 h 306964"/>
                <a:gd name="connsiteX32" fmla="*/ 826844 w 901239"/>
                <a:gd name="connsiteY32" fmla="*/ 148073 h 306964"/>
                <a:gd name="connsiteX33" fmla="*/ 811966 w 901239"/>
                <a:gd name="connsiteY33" fmla="*/ 135190 h 306964"/>
                <a:gd name="connsiteX34" fmla="*/ 733320 w 901239"/>
                <a:gd name="connsiteY34" fmla="*/ 100836 h 306964"/>
                <a:gd name="connsiteX35" fmla="*/ 607115 w 901239"/>
                <a:gd name="connsiteY35" fmla="*/ 77485 h 306964"/>
                <a:gd name="connsiteX36" fmla="*/ 557137 w 901239"/>
                <a:gd name="connsiteY36" fmla="*/ 73158 h 306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01239" h="306964">
                  <a:moveTo>
                    <a:pt x="557137" y="0"/>
                  </a:moveTo>
                  <a:lnTo>
                    <a:pt x="561681" y="187"/>
                  </a:lnTo>
                  <a:cubicBezTo>
                    <a:pt x="597284" y="3140"/>
                    <a:pt x="631293" y="7434"/>
                    <a:pt x="663176" y="12802"/>
                  </a:cubicBezTo>
                  <a:cubicBezTo>
                    <a:pt x="724817" y="23537"/>
                    <a:pt x="780082" y="38568"/>
                    <a:pt x="820468" y="57892"/>
                  </a:cubicBezTo>
                  <a:cubicBezTo>
                    <a:pt x="848100" y="70775"/>
                    <a:pt x="869356" y="85805"/>
                    <a:pt x="886360" y="107277"/>
                  </a:cubicBezTo>
                  <a:cubicBezTo>
                    <a:pt x="894863" y="120160"/>
                    <a:pt x="901239" y="135190"/>
                    <a:pt x="901239" y="152368"/>
                  </a:cubicBezTo>
                  <a:cubicBezTo>
                    <a:pt x="901239" y="169545"/>
                    <a:pt x="894863" y="184575"/>
                    <a:pt x="886360" y="197458"/>
                  </a:cubicBezTo>
                  <a:cubicBezTo>
                    <a:pt x="875732" y="210341"/>
                    <a:pt x="865105" y="218930"/>
                    <a:pt x="852351" y="227519"/>
                  </a:cubicBezTo>
                  <a:cubicBezTo>
                    <a:pt x="826844" y="246843"/>
                    <a:pt x="792835" y="259726"/>
                    <a:pt x="752450" y="270462"/>
                  </a:cubicBezTo>
                  <a:cubicBezTo>
                    <a:pt x="673804" y="294081"/>
                    <a:pt x="567526" y="306964"/>
                    <a:pt x="450620" y="306964"/>
                  </a:cubicBezTo>
                  <a:cubicBezTo>
                    <a:pt x="374099" y="306964"/>
                    <a:pt x="301830" y="302670"/>
                    <a:pt x="238063" y="291934"/>
                  </a:cubicBezTo>
                  <a:cubicBezTo>
                    <a:pt x="176422" y="281198"/>
                    <a:pt x="121157" y="266168"/>
                    <a:pt x="80772" y="246843"/>
                  </a:cubicBezTo>
                  <a:cubicBezTo>
                    <a:pt x="53139" y="233960"/>
                    <a:pt x="31884" y="218930"/>
                    <a:pt x="14879" y="197458"/>
                  </a:cubicBezTo>
                  <a:cubicBezTo>
                    <a:pt x="6377" y="184575"/>
                    <a:pt x="0" y="169545"/>
                    <a:pt x="0" y="152368"/>
                  </a:cubicBezTo>
                  <a:cubicBezTo>
                    <a:pt x="0" y="135190"/>
                    <a:pt x="6377" y="120160"/>
                    <a:pt x="14879" y="107277"/>
                  </a:cubicBezTo>
                  <a:cubicBezTo>
                    <a:pt x="25507" y="94394"/>
                    <a:pt x="36135" y="83658"/>
                    <a:pt x="48888" y="75070"/>
                  </a:cubicBezTo>
                  <a:cubicBezTo>
                    <a:pt x="74395" y="57892"/>
                    <a:pt x="108404" y="45009"/>
                    <a:pt x="146664" y="32126"/>
                  </a:cubicBezTo>
                  <a:cubicBezTo>
                    <a:pt x="187050" y="21390"/>
                    <a:pt x="233812" y="12265"/>
                    <a:pt x="285092" y="5823"/>
                  </a:cubicBezTo>
                  <a:lnTo>
                    <a:pt x="327721" y="3197"/>
                  </a:lnTo>
                  <a:lnTo>
                    <a:pt x="327721" y="73962"/>
                  </a:lnTo>
                  <a:lnTo>
                    <a:pt x="255068" y="81511"/>
                  </a:lnTo>
                  <a:cubicBezTo>
                    <a:pt x="197678" y="92247"/>
                    <a:pt x="150915" y="105130"/>
                    <a:pt x="116906" y="120160"/>
                  </a:cubicBezTo>
                  <a:cubicBezTo>
                    <a:pt x="95651" y="128749"/>
                    <a:pt x="80772" y="139485"/>
                    <a:pt x="74395" y="145926"/>
                  </a:cubicBezTo>
                  <a:cubicBezTo>
                    <a:pt x="72269" y="150221"/>
                    <a:pt x="72269" y="152368"/>
                    <a:pt x="72269" y="152368"/>
                  </a:cubicBezTo>
                  <a:lnTo>
                    <a:pt x="72269" y="154515"/>
                  </a:lnTo>
                  <a:cubicBezTo>
                    <a:pt x="74395" y="158809"/>
                    <a:pt x="80772" y="163104"/>
                    <a:pt x="89274" y="169545"/>
                  </a:cubicBezTo>
                  <a:cubicBezTo>
                    <a:pt x="104153" y="180281"/>
                    <a:pt x="131785" y="193164"/>
                    <a:pt x="167920" y="201753"/>
                  </a:cubicBezTo>
                  <a:cubicBezTo>
                    <a:pt x="238063" y="223224"/>
                    <a:pt x="337965" y="236107"/>
                    <a:pt x="450620" y="236107"/>
                  </a:cubicBezTo>
                  <a:cubicBezTo>
                    <a:pt x="520763" y="236107"/>
                    <a:pt x="588781" y="229666"/>
                    <a:pt x="646172" y="221077"/>
                  </a:cubicBezTo>
                  <a:cubicBezTo>
                    <a:pt x="703562" y="212489"/>
                    <a:pt x="750324" y="199606"/>
                    <a:pt x="784333" y="184575"/>
                  </a:cubicBezTo>
                  <a:cubicBezTo>
                    <a:pt x="805589" y="175987"/>
                    <a:pt x="820468" y="165251"/>
                    <a:pt x="826844" y="156662"/>
                  </a:cubicBezTo>
                  <a:cubicBezTo>
                    <a:pt x="828970" y="154515"/>
                    <a:pt x="828970" y="152368"/>
                    <a:pt x="828970" y="152368"/>
                  </a:cubicBezTo>
                  <a:lnTo>
                    <a:pt x="826844" y="148073"/>
                  </a:lnTo>
                  <a:cubicBezTo>
                    <a:pt x="824719" y="145926"/>
                    <a:pt x="820468" y="139485"/>
                    <a:pt x="811966" y="135190"/>
                  </a:cubicBezTo>
                  <a:cubicBezTo>
                    <a:pt x="797087" y="124454"/>
                    <a:pt x="769454" y="111571"/>
                    <a:pt x="733320" y="100836"/>
                  </a:cubicBezTo>
                  <a:cubicBezTo>
                    <a:pt x="698248" y="91174"/>
                    <a:pt x="655206" y="83122"/>
                    <a:pt x="607115" y="77485"/>
                  </a:cubicBezTo>
                  <a:lnTo>
                    <a:pt x="557137" y="7315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359">
              <a:extLst>
                <a:ext uri="{FF2B5EF4-FFF2-40B4-BE49-F238E27FC236}">
                  <a16:creationId xmlns:a16="http://schemas.microsoft.com/office/drawing/2014/main" id="{2B4BD6F5-CB77-6EDA-51BD-B74A980DEC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3596" y="4043727"/>
              <a:ext cx="294949" cy="327721"/>
            </a:xfrm>
            <a:custGeom>
              <a:avLst/>
              <a:gdLst>
                <a:gd name="T0" fmla="*/ 135 w 135"/>
                <a:gd name="T1" fmla="*/ 133 h 154"/>
                <a:gd name="T2" fmla="*/ 26 w 135"/>
                <a:gd name="T3" fmla="*/ 0 h 154"/>
                <a:gd name="T4" fmla="*/ 0 w 135"/>
                <a:gd name="T5" fmla="*/ 21 h 154"/>
                <a:gd name="T6" fmla="*/ 109 w 135"/>
                <a:gd name="T7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154">
                  <a:moveTo>
                    <a:pt x="135" y="133"/>
                  </a:moveTo>
                  <a:lnTo>
                    <a:pt x="26" y="0"/>
                  </a:lnTo>
                  <a:lnTo>
                    <a:pt x="0" y="21"/>
                  </a:lnTo>
                  <a:lnTo>
                    <a:pt x="109" y="154"/>
                  </a:ln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2EDA38A8-73B2-CCF9-CF7A-CE389D8CF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9533" y="3786830"/>
              <a:ext cx="884848" cy="306060"/>
            </a:xfrm>
            <a:custGeom>
              <a:avLst/>
              <a:gdLst>
                <a:gd name="connsiteX0" fmla="*/ 557127 w 884848"/>
                <a:gd name="connsiteY0" fmla="*/ 0 h 306060"/>
                <a:gd name="connsiteX1" fmla="*/ 651115 w 884848"/>
                <a:gd name="connsiteY1" fmla="*/ 11898 h 306060"/>
                <a:gd name="connsiteX2" fmla="*/ 805546 w 884848"/>
                <a:gd name="connsiteY2" fmla="*/ 56988 h 306060"/>
                <a:gd name="connsiteX3" fmla="*/ 870240 w 884848"/>
                <a:gd name="connsiteY3" fmla="*/ 106373 h 306060"/>
                <a:gd name="connsiteX4" fmla="*/ 884848 w 884848"/>
                <a:gd name="connsiteY4" fmla="*/ 151464 h 306060"/>
                <a:gd name="connsiteX5" fmla="*/ 870240 w 884848"/>
                <a:gd name="connsiteY5" fmla="*/ 196554 h 306060"/>
                <a:gd name="connsiteX6" fmla="*/ 836849 w 884848"/>
                <a:gd name="connsiteY6" fmla="*/ 226615 h 306060"/>
                <a:gd name="connsiteX7" fmla="*/ 740851 w 884848"/>
                <a:gd name="connsiteY7" fmla="*/ 269558 h 306060"/>
                <a:gd name="connsiteX8" fmla="*/ 442424 w 884848"/>
                <a:gd name="connsiteY8" fmla="*/ 306060 h 306060"/>
                <a:gd name="connsiteX9" fmla="*/ 233734 w 884848"/>
                <a:gd name="connsiteY9" fmla="*/ 291030 h 306060"/>
                <a:gd name="connsiteX10" fmla="*/ 79303 w 884848"/>
                <a:gd name="connsiteY10" fmla="*/ 245939 h 306060"/>
                <a:gd name="connsiteX11" fmla="*/ 14609 w 884848"/>
                <a:gd name="connsiteY11" fmla="*/ 196554 h 306060"/>
                <a:gd name="connsiteX12" fmla="*/ 0 w 884848"/>
                <a:gd name="connsiteY12" fmla="*/ 151464 h 306060"/>
                <a:gd name="connsiteX13" fmla="*/ 14609 w 884848"/>
                <a:gd name="connsiteY13" fmla="*/ 106373 h 306060"/>
                <a:gd name="connsiteX14" fmla="*/ 47999 w 884848"/>
                <a:gd name="connsiteY14" fmla="*/ 74166 h 306060"/>
                <a:gd name="connsiteX15" fmla="*/ 146084 w 884848"/>
                <a:gd name="connsiteY15" fmla="*/ 31222 h 306060"/>
                <a:gd name="connsiteX16" fmla="*/ 280167 w 884848"/>
                <a:gd name="connsiteY16" fmla="*/ 4919 h 306060"/>
                <a:gd name="connsiteX17" fmla="*/ 327722 w 884848"/>
                <a:gd name="connsiteY17" fmla="*/ 1930 h 306060"/>
                <a:gd name="connsiteX18" fmla="*/ 327722 w 884848"/>
                <a:gd name="connsiteY18" fmla="*/ 72427 h 306060"/>
                <a:gd name="connsiteX19" fmla="*/ 250429 w 884848"/>
                <a:gd name="connsiteY19" fmla="*/ 80607 h 306060"/>
                <a:gd name="connsiteX20" fmla="*/ 114780 w 884848"/>
                <a:gd name="connsiteY20" fmla="*/ 119256 h 306060"/>
                <a:gd name="connsiteX21" fmla="*/ 73042 w 884848"/>
                <a:gd name="connsiteY21" fmla="*/ 145022 h 306060"/>
                <a:gd name="connsiteX22" fmla="*/ 70955 w 884848"/>
                <a:gd name="connsiteY22" fmla="*/ 151464 h 306060"/>
                <a:gd name="connsiteX23" fmla="*/ 73042 w 884848"/>
                <a:gd name="connsiteY23" fmla="*/ 153611 h 306060"/>
                <a:gd name="connsiteX24" fmla="*/ 87650 w 884848"/>
                <a:gd name="connsiteY24" fmla="*/ 168641 h 306060"/>
                <a:gd name="connsiteX25" fmla="*/ 164866 w 884848"/>
                <a:gd name="connsiteY25" fmla="*/ 200849 h 306060"/>
                <a:gd name="connsiteX26" fmla="*/ 442424 w 884848"/>
                <a:gd name="connsiteY26" fmla="*/ 235203 h 306060"/>
                <a:gd name="connsiteX27" fmla="*/ 634419 w 884848"/>
                <a:gd name="connsiteY27" fmla="*/ 220173 h 306060"/>
                <a:gd name="connsiteX28" fmla="*/ 770068 w 884848"/>
                <a:gd name="connsiteY28" fmla="*/ 183671 h 306060"/>
                <a:gd name="connsiteX29" fmla="*/ 811806 w 884848"/>
                <a:gd name="connsiteY29" fmla="*/ 155758 h 306060"/>
                <a:gd name="connsiteX30" fmla="*/ 813893 w 884848"/>
                <a:gd name="connsiteY30" fmla="*/ 151464 h 306060"/>
                <a:gd name="connsiteX31" fmla="*/ 813893 w 884848"/>
                <a:gd name="connsiteY31" fmla="*/ 147169 h 306060"/>
                <a:gd name="connsiteX32" fmla="*/ 797198 w 884848"/>
                <a:gd name="connsiteY32" fmla="*/ 134286 h 306060"/>
                <a:gd name="connsiteX33" fmla="*/ 719982 w 884848"/>
                <a:gd name="connsiteY33" fmla="*/ 99932 h 306060"/>
                <a:gd name="connsiteX34" fmla="*/ 631061 w 884848"/>
                <a:gd name="connsiteY34" fmla="*/ 81249 h 306060"/>
                <a:gd name="connsiteX35" fmla="*/ 557127 w 884848"/>
                <a:gd name="connsiteY35" fmla="*/ 73596 h 306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884848" h="306060">
                  <a:moveTo>
                    <a:pt x="557127" y="0"/>
                  </a:moveTo>
                  <a:lnTo>
                    <a:pt x="651115" y="11898"/>
                  </a:lnTo>
                  <a:cubicBezTo>
                    <a:pt x="713722" y="22633"/>
                    <a:pt x="765894" y="37664"/>
                    <a:pt x="805546" y="56988"/>
                  </a:cubicBezTo>
                  <a:cubicBezTo>
                    <a:pt x="832675" y="69871"/>
                    <a:pt x="853544" y="84901"/>
                    <a:pt x="870240" y="106373"/>
                  </a:cubicBezTo>
                  <a:cubicBezTo>
                    <a:pt x="878587" y="119256"/>
                    <a:pt x="884848" y="134286"/>
                    <a:pt x="884848" y="151464"/>
                  </a:cubicBezTo>
                  <a:cubicBezTo>
                    <a:pt x="884848" y="168641"/>
                    <a:pt x="878587" y="183671"/>
                    <a:pt x="870240" y="196554"/>
                  </a:cubicBezTo>
                  <a:cubicBezTo>
                    <a:pt x="861892" y="209437"/>
                    <a:pt x="849371" y="218026"/>
                    <a:pt x="836849" y="226615"/>
                  </a:cubicBezTo>
                  <a:cubicBezTo>
                    <a:pt x="811806" y="245939"/>
                    <a:pt x="778416" y="258822"/>
                    <a:pt x="740851" y="269558"/>
                  </a:cubicBezTo>
                  <a:cubicBezTo>
                    <a:pt x="661549" y="293177"/>
                    <a:pt x="557204" y="306060"/>
                    <a:pt x="442424" y="306060"/>
                  </a:cubicBezTo>
                  <a:cubicBezTo>
                    <a:pt x="367296" y="306060"/>
                    <a:pt x="296341" y="301766"/>
                    <a:pt x="233734" y="291030"/>
                  </a:cubicBezTo>
                  <a:cubicBezTo>
                    <a:pt x="173213" y="280294"/>
                    <a:pt x="118954" y="265264"/>
                    <a:pt x="79303" y="245939"/>
                  </a:cubicBezTo>
                  <a:cubicBezTo>
                    <a:pt x="52173" y="233056"/>
                    <a:pt x="31304" y="218026"/>
                    <a:pt x="14609" y="196554"/>
                  </a:cubicBezTo>
                  <a:cubicBezTo>
                    <a:pt x="6261" y="183671"/>
                    <a:pt x="0" y="168641"/>
                    <a:pt x="0" y="151464"/>
                  </a:cubicBezTo>
                  <a:cubicBezTo>
                    <a:pt x="0" y="134286"/>
                    <a:pt x="6261" y="119256"/>
                    <a:pt x="14609" y="106373"/>
                  </a:cubicBezTo>
                  <a:cubicBezTo>
                    <a:pt x="25043" y="93490"/>
                    <a:pt x="35478" y="82754"/>
                    <a:pt x="47999" y="74166"/>
                  </a:cubicBezTo>
                  <a:cubicBezTo>
                    <a:pt x="73042" y="56988"/>
                    <a:pt x="106432" y="44105"/>
                    <a:pt x="146084" y="31222"/>
                  </a:cubicBezTo>
                  <a:cubicBezTo>
                    <a:pt x="184692" y="20486"/>
                    <a:pt x="230082" y="11361"/>
                    <a:pt x="280167" y="4919"/>
                  </a:cubicBezTo>
                  <a:lnTo>
                    <a:pt x="327722" y="1930"/>
                  </a:lnTo>
                  <a:lnTo>
                    <a:pt x="327722" y="72427"/>
                  </a:lnTo>
                  <a:lnTo>
                    <a:pt x="250429" y="80607"/>
                  </a:lnTo>
                  <a:cubicBezTo>
                    <a:pt x="194082" y="91343"/>
                    <a:pt x="148171" y="104226"/>
                    <a:pt x="114780" y="119256"/>
                  </a:cubicBezTo>
                  <a:cubicBezTo>
                    <a:pt x="93911" y="127845"/>
                    <a:pt x="79303" y="138581"/>
                    <a:pt x="73042" y="145022"/>
                  </a:cubicBezTo>
                  <a:cubicBezTo>
                    <a:pt x="70955" y="149317"/>
                    <a:pt x="70955" y="151464"/>
                    <a:pt x="70955" y="151464"/>
                  </a:cubicBezTo>
                  <a:lnTo>
                    <a:pt x="73042" y="153611"/>
                  </a:lnTo>
                  <a:cubicBezTo>
                    <a:pt x="75129" y="157905"/>
                    <a:pt x="79303" y="162200"/>
                    <a:pt x="87650" y="168641"/>
                  </a:cubicBezTo>
                  <a:cubicBezTo>
                    <a:pt x="102259" y="179377"/>
                    <a:pt x="129388" y="192260"/>
                    <a:pt x="164866" y="200849"/>
                  </a:cubicBezTo>
                  <a:cubicBezTo>
                    <a:pt x="233734" y="222320"/>
                    <a:pt x="333905" y="235203"/>
                    <a:pt x="442424" y="235203"/>
                  </a:cubicBezTo>
                  <a:cubicBezTo>
                    <a:pt x="511292" y="235203"/>
                    <a:pt x="578073" y="228762"/>
                    <a:pt x="634419" y="220173"/>
                  </a:cubicBezTo>
                  <a:cubicBezTo>
                    <a:pt x="690766" y="211585"/>
                    <a:pt x="736678" y="198702"/>
                    <a:pt x="770068" y="183671"/>
                  </a:cubicBezTo>
                  <a:cubicBezTo>
                    <a:pt x="790937" y="175083"/>
                    <a:pt x="805546" y="164347"/>
                    <a:pt x="811806" y="155758"/>
                  </a:cubicBezTo>
                  <a:cubicBezTo>
                    <a:pt x="813893" y="153611"/>
                    <a:pt x="813893" y="151464"/>
                    <a:pt x="813893" y="151464"/>
                  </a:cubicBezTo>
                  <a:lnTo>
                    <a:pt x="813893" y="147169"/>
                  </a:lnTo>
                  <a:cubicBezTo>
                    <a:pt x="811806" y="145022"/>
                    <a:pt x="805546" y="138581"/>
                    <a:pt x="797198" y="134286"/>
                  </a:cubicBezTo>
                  <a:cubicBezTo>
                    <a:pt x="782590" y="123550"/>
                    <a:pt x="755460" y="110667"/>
                    <a:pt x="719982" y="99932"/>
                  </a:cubicBezTo>
                  <a:cubicBezTo>
                    <a:pt x="694157" y="92685"/>
                    <a:pt x="664223" y="86344"/>
                    <a:pt x="631061" y="81249"/>
                  </a:cubicBezTo>
                  <a:lnTo>
                    <a:pt x="557127" y="7359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361">
              <a:extLst>
                <a:ext uri="{FF2B5EF4-FFF2-40B4-BE49-F238E27FC236}">
                  <a16:creationId xmlns:a16="http://schemas.microsoft.com/office/drawing/2014/main" id="{64E2AB9A-5D54-E634-6FCF-06B743B85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1458" y="4043727"/>
              <a:ext cx="294949" cy="327721"/>
            </a:xfrm>
            <a:custGeom>
              <a:avLst/>
              <a:gdLst>
                <a:gd name="T0" fmla="*/ 26 w 135"/>
                <a:gd name="T1" fmla="*/ 154 h 154"/>
                <a:gd name="T2" fmla="*/ 135 w 135"/>
                <a:gd name="T3" fmla="*/ 21 h 154"/>
                <a:gd name="T4" fmla="*/ 109 w 135"/>
                <a:gd name="T5" fmla="*/ 0 h 154"/>
                <a:gd name="T6" fmla="*/ 0 w 135"/>
                <a:gd name="T7" fmla="*/ 13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154">
                  <a:moveTo>
                    <a:pt x="26" y="154"/>
                  </a:moveTo>
                  <a:lnTo>
                    <a:pt x="135" y="21"/>
                  </a:lnTo>
                  <a:lnTo>
                    <a:pt x="109" y="0"/>
                  </a:lnTo>
                  <a:lnTo>
                    <a:pt x="0" y="133"/>
                  </a:ln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362">
              <a:extLst>
                <a:ext uri="{FF2B5EF4-FFF2-40B4-BE49-F238E27FC236}">
                  <a16:creationId xmlns:a16="http://schemas.microsoft.com/office/drawing/2014/main" id="{54D8BECB-55B8-752D-C58B-24C6860942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572" y="2781995"/>
              <a:ext cx="294949" cy="294949"/>
            </a:xfrm>
            <a:custGeom>
              <a:avLst/>
              <a:gdLst>
                <a:gd name="T0" fmla="*/ 123 w 140"/>
                <a:gd name="T1" fmla="*/ 70 h 140"/>
                <a:gd name="T2" fmla="*/ 107 w 140"/>
                <a:gd name="T3" fmla="*/ 70 h 140"/>
                <a:gd name="T4" fmla="*/ 70 w 140"/>
                <a:gd name="T5" fmla="*/ 107 h 140"/>
                <a:gd name="T6" fmla="*/ 33 w 140"/>
                <a:gd name="T7" fmla="*/ 70 h 140"/>
                <a:gd name="T8" fmla="*/ 70 w 140"/>
                <a:gd name="T9" fmla="*/ 34 h 140"/>
                <a:gd name="T10" fmla="*/ 107 w 140"/>
                <a:gd name="T11" fmla="*/ 70 h 140"/>
                <a:gd name="T12" fmla="*/ 123 w 140"/>
                <a:gd name="T13" fmla="*/ 70 h 140"/>
                <a:gd name="T14" fmla="*/ 140 w 140"/>
                <a:gd name="T15" fmla="*/ 70 h 140"/>
                <a:gd name="T16" fmla="*/ 70 w 140"/>
                <a:gd name="T17" fmla="*/ 0 h 140"/>
                <a:gd name="T18" fmla="*/ 0 w 140"/>
                <a:gd name="T19" fmla="*/ 70 h 140"/>
                <a:gd name="T20" fmla="*/ 70 w 140"/>
                <a:gd name="T21" fmla="*/ 140 h 140"/>
                <a:gd name="T22" fmla="*/ 140 w 140"/>
                <a:gd name="T23" fmla="*/ 70 h 140"/>
                <a:gd name="T24" fmla="*/ 123 w 140"/>
                <a:gd name="T25" fmla="*/ 7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0" h="140">
                  <a:moveTo>
                    <a:pt x="123" y="70"/>
                  </a:moveTo>
                  <a:lnTo>
                    <a:pt x="107" y="70"/>
                  </a:lnTo>
                  <a:cubicBezTo>
                    <a:pt x="107" y="91"/>
                    <a:pt x="90" y="107"/>
                    <a:pt x="70" y="107"/>
                  </a:cubicBezTo>
                  <a:cubicBezTo>
                    <a:pt x="50" y="107"/>
                    <a:pt x="33" y="91"/>
                    <a:pt x="33" y="70"/>
                  </a:cubicBezTo>
                  <a:cubicBezTo>
                    <a:pt x="33" y="50"/>
                    <a:pt x="50" y="34"/>
                    <a:pt x="70" y="34"/>
                  </a:cubicBezTo>
                  <a:cubicBezTo>
                    <a:pt x="90" y="34"/>
                    <a:pt x="107" y="50"/>
                    <a:pt x="107" y="70"/>
                  </a:cubicBezTo>
                  <a:lnTo>
                    <a:pt x="123" y="70"/>
                  </a:lnTo>
                  <a:lnTo>
                    <a:pt x="140" y="70"/>
                  </a:lnTo>
                  <a:cubicBezTo>
                    <a:pt x="140" y="32"/>
                    <a:pt x="109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109"/>
                    <a:pt x="31" y="140"/>
                    <a:pt x="70" y="140"/>
                  </a:cubicBezTo>
                  <a:cubicBezTo>
                    <a:pt x="109" y="140"/>
                    <a:pt x="140" y="109"/>
                    <a:pt x="140" y="70"/>
                  </a:cubicBezTo>
                  <a:lnTo>
                    <a:pt x="123" y="7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363">
              <a:extLst>
                <a:ext uri="{FF2B5EF4-FFF2-40B4-BE49-F238E27FC236}">
                  <a16:creationId xmlns:a16="http://schemas.microsoft.com/office/drawing/2014/main" id="{7500C20E-A6C1-D0B8-33D8-4CC5F695B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2256" y="3011400"/>
              <a:ext cx="229405" cy="507973"/>
            </a:xfrm>
            <a:custGeom>
              <a:avLst/>
              <a:gdLst>
                <a:gd name="T0" fmla="*/ 69 w 103"/>
                <a:gd name="T1" fmla="*/ 0 h 235"/>
                <a:gd name="T2" fmla="*/ 62 w 103"/>
                <a:gd name="T3" fmla="*/ 9 h 235"/>
                <a:gd name="T4" fmla="*/ 47 w 103"/>
                <a:gd name="T5" fmla="*/ 13 h 235"/>
                <a:gd name="T6" fmla="*/ 0 w 103"/>
                <a:gd name="T7" fmla="*/ 72 h 235"/>
                <a:gd name="T8" fmla="*/ 0 w 103"/>
                <a:gd name="T9" fmla="*/ 174 h 235"/>
                <a:gd name="T10" fmla="*/ 61 w 103"/>
                <a:gd name="T11" fmla="*/ 235 h 235"/>
                <a:gd name="T12" fmla="*/ 61 w 103"/>
                <a:gd name="T13" fmla="*/ 201 h 235"/>
                <a:gd name="T14" fmla="*/ 33 w 103"/>
                <a:gd name="T15" fmla="*/ 174 h 235"/>
                <a:gd name="T16" fmla="*/ 33 w 103"/>
                <a:gd name="T17" fmla="*/ 72 h 235"/>
                <a:gd name="T18" fmla="*/ 54 w 103"/>
                <a:gd name="T19" fmla="*/ 45 h 235"/>
                <a:gd name="T20" fmla="*/ 69 w 103"/>
                <a:gd name="T21" fmla="*/ 42 h 235"/>
                <a:gd name="T22" fmla="*/ 103 w 103"/>
                <a:gd name="T23" fmla="*/ 0 h 235"/>
                <a:gd name="T24" fmla="*/ 69 w 103"/>
                <a:gd name="T25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235">
                  <a:moveTo>
                    <a:pt x="69" y="0"/>
                  </a:moveTo>
                  <a:cubicBezTo>
                    <a:pt x="69" y="4"/>
                    <a:pt x="66" y="8"/>
                    <a:pt x="62" y="9"/>
                  </a:cubicBezTo>
                  <a:lnTo>
                    <a:pt x="47" y="13"/>
                  </a:lnTo>
                  <a:cubicBezTo>
                    <a:pt x="19" y="19"/>
                    <a:pt x="0" y="44"/>
                    <a:pt x="0" y="72"/>
                  </a:cubicBezTo>
                  <a:lnTo>
                    <a:pt x="0" y="174"/>
                  </a:lnTo>
                  <a:cubicBezTo>
                    <a:pt x="0" y="207"/>
                    <a:pt x="27" y="235"/>
                    <a:pt x="61" y="235"/>
                  </a:cubicBezTo>
                  <a:lnTo>
                    <a:pt x="61" y="201"/>
                  </a:lnTo>
                  <a:cubicBezTo>
                    <a:pt x="46" y="201"/>
                    <a:pt x="33" y="189"/>
                    <a:pt x="33" y="174"/>
                  </a:cubicBezTo>
                  <a:lnTo>
                    <a:pt x="33" y="72"/>
                  </a:lnTo>
                  <a:cubicBezTo>
                    <a:pt x="33" y="59"/>
                    <a:pt x="42" y="48"/>
                    <a:pt x="54" y="45"/>
                  </a:cubicBezTo>
                  <a:lnTo>
                    <a:pt x="69" y="42"/>
                  </a:lnTo>
                  <a:cubicBezTo>
                    <a:pt x="89" y="37"/>
                    <a:pt x="103" y="20"/>
                    <a:pt x="103" y="0"/>
                  </a:cubicBezTo>
                  <a:lnTo>
                    <a:pt x="69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364">
              <a:extLst>
                <a:ext uri="{FF2B5EF4-FFF2-40B4-BE49-F238E27FC236}">
                  <a16:creationId xmlns:a16="http://schemas.microsoft.com/office/drawing/2014/main" id="{B7CDDD64-A10C-AE4D-2899-41141910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824" y="3011400"/>
              <a:ext cx="213024" cy="507973"/>
            </a:xfrm>
            <a:custGeom>
              <a:avLst/>
              <a:gdLst>
                <a:gd name="T0" fmla="*/ 0 w 103"/>
                <a:gd name="T1" fmla="*/ 0 h 235"/>
                <a:gd name="T2" fmla="*/ 34 w 103"/>
                <a:gd name="T3" fmla="*/ 42 h 235"/>
                <a:gd name="T4" fmla="*/ 48 w 103"/>
                <a:gd name="T5" fmla="*/ 45 h 235"/>
                <a:gd name="T6" fmla="*/ 70 w 103"/>
                <a:gd name="T7" fmla="*/ 72 h 235"/>
                <a:gd name="T8" fmla="*/ 70 w 103"/>
                <a:gd name="T9" fmla="*/ 174 h 235"/>
                <a:gd name="T10" fmla="*/ 42 w 103"/>
                <a:gd name="T11" fmla="*/ 201 h 235"/>
                <a:gd name="T12" fmla="*/ 42 w 103"/>
                <a:gd name="T13" fmla="*/ 235 h 235"/>
                <a:gd name="T14" fmla="*/ 103 w 103"/>
                <a:gd name="T15" fmla="*/ 174 h 235"/>
                <a:gd name="T16" fmla="*/ 103 w 103"/>
                <a:gd name="T17" fmla="*/ 72 h 235"/>
                <a:gd name="T18" fmla="*/ 56 w 103"/>
                <a:gd name="T19" fmla="*/ 13 h 235"/>
                <a:gd name="T20" fmla="*/ 41 w 103"/>
                <a:gd name="T21" fmla="*/ 9 h 235"/>
                <a:gd name="T22" fmla="*/ 34 w 103"/>
                <a:gd name="T23" fmla="*/ 0 h 235"/>
                <a:gd name="T24" fmla="*/ 0 w 103"/>
                <a:gd name="T25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235">
                  <a:moveTo>
                    <a:pt x="0" y="0"/>
                  </a:moveTo>
                  <a:cubicBezTo>
                    <a:pt x="0" y="20"/>
                    <a:pt x="14" y="37"/>
                    <a:pt x="34" y="42"/>
                  </a:cubicBezTo>
                  <a:lnTo>
                    <a:pt x="48" y="45"/>
                  </a:lnTo>
                  <a:cubicBezTo>
                    <a:pt x="61" y="48"/>
                    <a:pt x="70" y="59"/>
                    <a:pt x="70" y="72"/>
                  </a:cubicBezTo>
                  <a:lnTo>
                    <a:pt x="70" y="174"/>
                  </a:lnTo>
                  <a:cubicBezTo>
                    <a:pt x="70" y="189"/>
                    <a:pt x="57" y="201"/>
                    <a:pt x="42" y="201"/>
                  </a:cubicBezTo>
                  <a:lnTo>
                    <a:pt x="42" y="235"/>
                  </a:lnTo>
                  <a:cubicBezTo>
                    <a:pt x="76" y="235"/>
                    <a:pt x="103" y="207"/>
                    <a:pt x="103" y="174"/>
                  </a:cubicBezTo>
                  <a:lnTo>
                    <a:pt x="103" y="72"/>
                  </a:lnTo>
                  <a:cubicBezTo>
                    <a:pt x="103" y="44"/>
                    <a:pt x="83" y="19"/>
                    <a:pt x="56" y="13"/>
                  </a:cubicBezTo>
                  <a:lnTo>
                    <a:pt x="41" y="9"/>
                  </a:lnTo>
                  <a:cubicBezTo>
                    <a:pt x="37" y="8"/>
                    <a:pt x="34" y="4"/>
                    <a:pt x="3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366">
              <a:extLst>
                <a:ext uri="{FF2B5EF4-FFF2-40B4-BE49-F238E27FC236}">
                  <a16:creationId xmlns:a16="http://schemas.microsoft.com/office/drawing/2014/main" id="{1594D956-20A5-2FDA-462B-2CFC56A9D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572" y="3158880"/>
              <a:ext cx="180252" cy="819303"/>
            </a:xfrm>
            <a:custGeom>
              <a:avLst/>
              <a:gdLst>
                <a:gd name="T0" fmla="*/ 0 w 88"/>
                <a:gd name="T1" fmla="*/ 0 h 387"/>
                <a:gd name="T2" fmla="*/ 0 w 88"/>
                <a:gd name="T3" fmla="*/ 343 h 387"/>
                <a:gd name="T4" fmla="*/ 44 w 88"/>
                <a:gd name="T5" fmla="*/ 387 h 387"/>
                <a:gd name="T6" fmla="*/ 88 w 88"/>
                <a:gd name="T7" fmla="*/ 343 h 387"/>
                <a:gd name="T8" fmla="*/ 88 w 88"/>
                <a:gd name="T9" fmla="*/ 160 h 387"/>
                <a:gd name="T10" fmla="*/ 54 w 88"/>
                <a:gd name="T11" fmla="*/ 160 h 387"/>
                <a:gd name="T12" fmla="*/ 54 w 88"/>
                <a:gd name="T13" fmla="*/ 343 h 387"/>
                <a:gd name="T14" fmla="*/ 44 w 88"/>
                <a:gd name="T15" fmla="*/ 354 h 387"/>
                <a:gd name="T16" fmla="*/ 33 w 88"/>
                <a:gd name="T17" fmla="*/ 343 h 387"/>
                <a:gd name="T18" fmla="*/ 33 w 88"/>
                <a:gd name="T19" fmla="*/ 133 h 387"/>
                <a:gd name="T20" fmla="*/ 33 w 88"/>
                <a:gd name="T21" fmla="*/ 0 h 387"/>
                <a:gd name="T22" fmla="*/ 0 w 88"/>
                <a:gd name="T23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387">
                  <a:moveTo>
                    <a:pt x="0" y="0"/>
                  </a:moveTo>
                  <a:lnTo>
                    <a:pt x="0" y="343"/>
                  </a:lnTo>
                  <a:cubicBezTo>
                    <a:pt x="0" y="367"/>
                    <a:pt x="20" y="387"/>
                    <a:pt x="44" y="387"/>
                  </a:cubicBezTo>
                  <a:cubicBezTo>
                    <a:pt x="68" y="387"/>
                    <a:pt x="88" y="367"/>
                    <a:pt x="88" y="343"/>
                  </a:cubicBezTo>
                  <a:lnTo>
                    <a:pt x="88" y="160"/>
                  </a:lnTo>
                  <a:lnTo>
                    <a:pt x="54" y="160"/>
                  </a:lnTo>
                  <a:lnTo>
                    <a:pt x="54" y="343"/>
                  </a:lnTo>
                  <a:cubicBezTo>
                    <a:pt x="54" y="349"/>
                    <a:pt x="50" y="354"/>
                    <a:pt x="44" y="354"/>
                  </a:cubicBezTo>
                  <a:cubicBezTo>
                    <a:pt x="38" y="354"/>
                    <a:pt x="33" y="349"/>
                    <a:pt x="33" y="343"/>
                  </a:cubicBezTo>
                  <a:lnTo>
                    <a:pt x="33" y="133"/>
                  </a:lnTo>
                  <a:lnTo>
                    <a:pt x="3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368">
              <a:extLst>
                <a:ext uri="{FF2B5EF4-FFF2-40B4-BE49-F238E27FC236}">
                  <a16:creationId xmlns:a16="http://schemas.microsoft.com/office/drawing/2014/main" id="{0BC2537A-C8A5-364C-0112-AF6148980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280" y="3158880"/>
              <a:ext cx="180252" cy="819303"/>
            </a:xfrm>
            <a:custGeom>
              <a:avLst/>
              <a:gdLst>
                <a:gd name="T0" fmla="*/ 54 w 88"/>
                <a:gd name="T1" fmla="*/ 0 h 387"/>
                <a:gd name="T2" fmla="*/ 54 w 88"/>
                <a:gd name="T3" fmla="*/ 343 h 387"/>
                <a:gd name="T4" fmla="*/ 44 w 88"/>
                <a:gd name="T5" fmla="*/ 354 h 387"/>
                <a:gd name="T6" fmla="*/ 34 w 88"/>
                <a:gd name="T7" fmla="*/ 343 h 387"/>
                <a:gd name="T8" fmla="*/ 34 w 88"/>
                <a:gd name="T9" fmla="*/ 160 h 387"/>
                <a:gd name="T10" fmla="*/ 0 w 88"/>
                <a:gd name="T11" fmla="*/ 160 h 387"/>
                <a:gd name="T12" fmla="*/ 0 w 88"/>
                <a:gd name="T13" fmla="*/ 343 h 387"/>
                <a:gd name="T14" fmla="*/ 44 w 88"/>
                <a:gd name="T15" fmla="*/ 387 h 387"/>
                <a:gd name="T16" fmla="*/ 88 w 88"/>
                <a:gd name="T17" fmla="*/ 343 h 387"/>
                <a:gd name="T18" fmla="*/ 88 w 88"/>
                <a:gd name="T19" fmla="*/ 133 h 387"/>
                <a:gd name="T20" fmla="*/ 88 w 88"/>
                <a:gd name="T21" fmla="*/ 0 h 387"/>
                <a:gd name="T22" fmla="*/ 54 w 88"/>
                <a:gd name="T23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387">
                  <a:moveTo>
                    <a:pt x="54" y="0"/>
                  </a:moveTo>
                  <a:lnTo>
                    <a:pt x="54" y="343"/>
                  </a:lnTo>
                  <a:cubicBezTo>
                    <a:pt x="54" y="349"/>
                    <a:pt x="50" y="354"/>
                    <a:pt x="44" y="354"/>
                  </a:cubicBezTo>
                  <a:cubicBezTo>
                    <a:pt x="38" y="354"/>
                    <a:pt x="34" y="349"/>
                    <a:pt x="34" y="343"/>
                  </a:cubicBezTo>
                  <a:lnTo>
                    <a:pt x="34" y="160"/>
                  </a:lnTo>
                  <a:lnTo>
                    <a:pt x="0" y="160"/>
                  </a:lnTo>
                  <a:lnTo>
                    <a:pt x="0" y="343"/>
                  </a:lnTo>
                  <a:cubicBezTo>
                    <a:pt x="0" y="367"/>
                    <a:pt x="20" y="387"/>
                    <a:pt x="44" y="387"/>
                  </a:cubicBezTo>
                  <a:cubicBezTo>
                    <a:pt x="68" y="387"/>
                    <a:pt x="88" y="367"/>
                    <a:pt x="88" y="343"/>
                  </a:cubicBezTo>
                  <a:lnTo>
                    <a:pt x="88" y="133"/>
                  </a:lnTo>
                  <a:lnTo>
                    <a:pt x="88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369">
              <a:extLst>
                <a:ext uri="{FF2B5EF4-FFF2-40B4-BE49-F238E27FC236}">
                  <a16:creationId xmlns:a16="http://schemas.microsoft.com/office/drawing/2014/main" id="{62323299-7841-215B-8DBB-0283C3EDC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4482" y="2781995"/>
              <a:ext cx="294949" cy="294949"/>
            </a:xfrm>
            <a:custGeom>
              <a:avLst/>
              <a:gdLst>
                <a:gd name="T0" fmla="*/ 17 w 140"/>
                <a:gd name="T1" fmla="*/ 70 h 140"/>
                <a:gd name="T2" fmla="*/ 0 w 140"/>
                <a:gd name="T3" fmla="*/ 70 h 140"/>
                <a:gd name="T4" fmla="*/ 70 w 140"/>
                <a:gd name="T5" fmla="*/ 140 h 140"/>
                <a:gd name="T6" fmla="*/ 140 w 140"/>
                <a:gd name="T7" fmla="*/ 70 h 140"/>
                <a:gd name="T8" fmla="*/ 70 w 140"/>
                <a:gd name="T9" fmla="*/ 0 h 140"/>
                <a:gd name="T10" fmla="*/ 0 w 140"/>
                <a:gd name="T11" fmla="*/ 70 h 140"/>
                <a:gd name="T12" fmla="*/ 17 w 140"/>
                <a:gd name="T13" fmla="*/ 70 h 140"/>
                <a:gd name="T14" fmla="*/ 33 w 140"/>
                <a:gd name="T15" fmla="*/ 70 h 140"/>
                <a:gd name="T16" fmla="*/ 70 w 140"/>
                <a:gd name="T17" fmla="*/ 34 h 140"/>
                <a:gd name="T18" fmla="*/ 107 w 140"/>
                <a:gd name="T19" fmla="*/ 70 h 140"/>
                <a:gd name="T20" fmla="*/ 70 w 140"/>
                <a:gd name="T21" fmla="*/ 107 h 140"/>
                <a:gd name="T22" fmla="*/ 33 w 140"/>
                <a:gd name="T23" fmla="*/ 70 h 140"/>
                <a:gd name="T24" fmla="*/ 17 w 140"/>
                <a:gd name="T25" fmla="*/ 7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0" h="140">
                  <a:moveTo>
                    <a:pt x="17" y="70"/>
                  </a:moveTo>
                  <a:lnTo>
                    <a:pt x="0" y="70"/>
                  </a:lnTo>
                  <a:cubicBezTo>
                    <a:pt x="0" y="109"/>
                    <a:pt x="31" y="140"/>
                    <a:pt x="70" y="140"/>
                  </a:cubicBezTo>
                  <a:cubicBezTo>
                    <a:pt x="109" y="140"/>
                    <a:pt x="140" y="109"/>
                    <a:pt x="140" y="70"/>
                  </a:cubicBezTo>
                  <a:cubicBezTo>
                    <a:pt x="140" y="32"/>
                    <a:pt x="109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lnTo>
                    <a:pt x="17" y="70"/>
                  </a:lnTo>
                  <a:lnTo>
                    <a:pt x="33" y="70"/>
                  </a:lnTo>
                  <a:cubicBezTo>
                    <a:pt x="34" y="50"/>
                    <a:pt x="50" y="34"/>
                    <a:pt x="70" y="34"/>
                  </a:cubicBezTo>
                  <a:cubicBezTo>
                    <a:pt x="90" y="34"/>
                    <a:pt x="107" y="50"/>
                    <a:pt x="107" y="70"/>
                  </a:cubicBezTo>
                  <a:cubicBezTo>
                    <a:pt x="107" y="91"/>
                    <a:pt x="90" y="107"/>
                    <a:pt x="70" y="107"/>
                  </a:cubicBezTo>
                  <a:cubicBezTo>
                    <a:pt x="50" y="107"/>
                    <a:pt x="34" y="91"/>
                    <a:pt x="33" y="70"/>
                  </a:cubicBezTo>
                  <a:lnTo>
                    <a:pt x="17" y="7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370">
              <a:extLst>
                <a:ext uri="{FF2B5EF4-FFF2-40B4-BE49-F238E27FC236}">
                  <a16:creationId xmlns:a16="http://schemas.microsoft.com/office/drawing/2014/main" id="{79D7BE5E-E4C1-706E-A2E5-CFA59D192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4724" y="3011400"/>
              <a:ext cx="213024" cy="507973"/>
            </a:xfrm>
            <a:custGeom>
              <a:avLst/>
              <a:gdLst>
                <a:gd name="T0" fmla="*/ 0 w 103"/>
                <a:gd name="T1" fmla="*/ 0 h 235"/>
                <a:gd name="T2" fmla="*/ 34 w 103"/>
                <a:gd name="T3" fmla="*/ 42 h 235"/>
                <a:gd name="T4" fmla="*/ 49 w 103"/>
                <a:gd name="T5" fmla="*/ 45 h 235"/>
                <a:gd name="T6" fmla="*/ 70 w 103"/>
                <a:gd name="T7" fmla="*/ 72 h 235"/>
                <a:gd name="T8" fmla="*/ 70 w 103"/>
                <a:gd name="T9" fmla="*/ 174 h 235"/>
                <a:gd name="T10" fmla="*/ 42 w 103"/>
                <a:gd name="T11" fmla="*/ 201 h 235"/>
                <a:gd name="T12" fmla="*/ 42 w 103"/>
                <a:gd name="T13" fmla="*/ 235 h 235"/>
                <a:gd name="T14" fmla="*/ 103 w 103"/>
                <a:gd name="T15" fmla="*/ 174 h 235"/>
                <a:gd name="T16" fmla="*/ 103 w 103"/>
                <a:gd name="T17" fmla="*/ 72 h 235"/>
                <a:gd name="T18" fmla="*/ 56 w 103"/>
                <a:gd name="T19" fmla="*/ 13 h 235"/>
                <a:gd name="T20" fmla="*/ 41 w 103"/>
                <a:gd name="T21" fmla="*/ 9 h 235"/>
                <a:gd name="T22" fmla="*/ 34 w 103"/>
                <a:gd name="T23" fmla="*/ 0 h 235"/>
                <a:gd name="T24" fmla="*/ 0 w 103"/>
                <a:gd name="T25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235">
                  <a:moveTo>
                    <a:pt x="0" y="0"/>
                  </a:moveTo>
                  <a:cubicBezTo>
                    <a:pt x="0" y="20"/>
                    <a:pt x="14" y="37"/>
                    <a:pt x="34" y="42"/>
                  </a:cubicBezTo>
                  <a:lnTo>
                    <a:pt x="49" y="45"/>
                  </a:lnTo>
                  <a:cubicBezTo>
                    <a:pt x="61" y="48"/>
                    <a:pt x="70" y="59"/>
                    <a:pt x="70" y="72"/>
                  </a:cubicBezTo>
                  <a:lnTo>
                    <a:pt x="70" y="174"/>
                  </a:lnTo>
                  <a:cubicBezTo>
                    <a:pt x="70" y="189"/>
                    <a:pt x="57" y="201"/>
                    <a:pt x="42" y="201"/>
                  </a:cubicBezTo>
                  <a:lnTo>
                    <a:pt x="42" y="235"/>
                  </a:lnTo>
                  <a:cubicBezTo>
                    <a:pt x="76" y="235"/>
                    <a:pt x="103" y="207"/>
                    <a:pt x="103" y="174"/>
                  </a:cubicBezTo>
                  <a:lnTo>
                    <a:pt x="103" y="72"/>
                  </a:lnTo>
                  <a:cubicBezTo>
                    <a:pt x="103" y="44"/>
                    <a:pt x="84" y="19"/>
                    <a:pt x="56" y="13"/>
                  </a:cubicBezTo>
                  <a:lnTo>
                    <a:pt x="41" y="9"/>
                  </a:lnTo>
                  <a:cubicBezTo>
                    <a:pt x="37" y="8"/>
                    <a:pt x="34" y="4"/>
                    <a:pt x="3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371">
              <a:extLst>
                <a:ext uri="{FF2B5EF4-FFF2-40B4-BE49-F238E27FC236}">
                  <a16:creationId xmlns:a16="http://schemas.microsoft.com/office/drawing/2014/main" id="{3402EF57-CB15-BE93-37E1-F7510AAAC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6166" y="3011400"/>
              <a:ext cx="213024" cy="507973"/>
            </a:xfrm>
            <a:custGeom>
              <a:avLst/>
              <a:gdLst>
                <a:gd name="T0" fmla="*/ 69 w 103"/>
                <a:gd name="T1" fmla="*/ 0 h 235"/>
                <a:gd name="T2" fmla="*/ 62 w 103"/>
                <a:gd name="T3" fmla="*/ 9 h 235"/>
                <a:gd name="T4" fmla="*/ 47 w 103"/>
                <a:gd name="T5" fmla="*/ 13 h 235"/>
                <a:gd name="T6" fmla="*/ 0 w 103"/>
                <a:gd name="T7" fmla="*/ 72 h 235"/>
                <a:gd name="T8" fmla="*/ 0 w 103"/>
                <a:gd name="T9" fmla="*/ 174 h 235"/>
                <a:gd name="T10" fmla="*/ 61 w 103"/>
                <a:gd name="T11" fmla="*/ 235 h 235"/>
                <a:gd name="T12" fmla="*/ 61 w 103"/>
                <a:gd name="T13" fmla="*/ 201 h 235"/>
                <a:gd name="T14" fmla="*/ 33 w 103"/>
                <a:gd name="T15" fmla="*/ 174 h 235"/>
                <a:gd name="T16" fmla="*/ 33 w 103"/>
                <a:gd name="T17" fmla="*/ 72 h 235"/>
                <a:gd name="T18" fmla="*/ 55 w 103"/>
                <a:gd name="T19" fmla="*/ 45 h 235"/>
                <a:gd name="T20" fmla="*/ 69 w 103"/>
                <a:gd name="T21" fmla="*/ 42 h 235"/>
                <a:gd name="T22" fmla="*/ 103 w 103"/>
                <a:gd name="T23" fmla="*/ 0 h 235"/>
                <a:gd name="T24" fmla="*/ 69 w 103"/>
                <a:gd name="T25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235">
                  <a:moveTo>
                    <a:pt x="69" y="0"/>
                  </a:moveTo>
                  <a:cubicBezTo>
                    <a:pt x="69" y="4"/>
                    <a:pt x="66" y="8"/>
                    <a:pt x="62" y="9"/>
                  </a:cubicBezTo>
                  <a:lnTo>
                    <a:pt x="47" y="13"/>
                  </a:lnTo>
                  <a:cubicBezTo>
                    <a:pt x="20" y="19"/>
                    <a:pt x="0" y="44"/>
                    <a:pt x="0" y="72"/>
                  </a:cubicBezTo>
                  <a:lnTo>
                    <a:pt x="0" y="174"/>
                  </a:lnTo>
                  <a:cubicBezTo>
                    <a:pt x="0" y="207"/>
                    <a:pt x="27" y="235"/>
                    <a:pt x="61" y="235"/>
                  </a:cubicBezTo>
                  <a:lnTo>
                    <a:pt x="61" y="201"/>
                  </a:lnTo>
                  <a:cubicBezTo>
                    <a:pt x="46" y="201"/>
                    <a:pt x="33" y="189"/>
                    <a:pt x="33" y="174"/>
                  </a:cubicBezTo>
                  <a:lnTo>
                    <a:pt x="33" y="72"/>
                  </a:lnTo>
                  <a:cubicBezTo>
                    <a:pt x="33" y="59"/>
                    <a:pt x="42" y="48"/>
                    <a:pt x="55" y="45"/>
                  </a:cubicBezTo>
                  <a:lnTo>
                    <a:pt x="69" y="42"/>
                  </a:lnTo>
                  <a:cubicBezTo>
                    <a:pt x="89" y="37"/>
                    <a:pt x="103" y="20"/>
                    <a:pt x="103" y="0"/>
                  </a:cubicBezTo>
                  <a:lnTo>
                    <a:pt x="69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373">
              <a:extLst>
                <a:ext uri="{FF2B5EF4-FFF2-40B4-BE49-F238E27FC236}">
                  <a16:creationId xmlns:a16="http://schemas.microsoft.com/office/drawing/2014/main" id="{C44CDFD4-9DA5-0078-EFAB-8EE77C212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180" y="3158880"/>
              <a:ext cx="180252" cy="819303"/>
            </a:xfrm>
            <a:custGeom>
              <a:avLst/>
              <a:gdLst>
                <a:gd name="T0" fmla="*/ 55 w 88"/>
                <a:gd name="T1" fmla="*/ 0 h 387"/>
                <a:gd name="T2" fmla="*/ 55 w 88"/>
                <a:gd name="T3" fmla="*/ 343 h 387"/>
                <a:gd name="T4" fmla="*/ 44 w 88"/>
                <a:gd name="T5" fmla="*/ 354 h 387"/>
                <a:gd name="T6" fmla="*/ 34 w 88"/>
                <a:gd name="T7" fmla="*/ 343 h 387"/>
                <a:gd name="T8" fmla="*/ 34 w 88"/>
                <a:gd name="T9" fmla="*/ 160 h 387"/>
                <a:gd name="T10" fmla="*/ 0 w 88"/>
                <a:gd name="T11" fmla="*/ 160 h 387"/>
                <a:gd name="T12" fmla="*/ 0 w 88"/>
                <a:gd name="T13" fmla="*/ 343 h 387"/>
                <a:gd name="T14" fmla="*/ 44 w 88"/>
                <a:gd name="T15" fmla="*/ 387 h 387"/>
                <a:gd name="T16" fmla="*/ 88 w 88"/>
                <a:gd name="T17" fmla="*/ 343 h 387"/>
                <a:gd name="T18" fmla="*/ 88 w 88"/>
                <a:gd name="T19" fmla="*/ 133 h 387"/>
                <a:gd name="T20" fmla="*/ 88 w 88"/>
                <a:gd name="T21" fmla="*/ 0 h 387"/>
                <a:gd name="T22" fmla="*/ 55 w 88"/>
                <a:gd name="T23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387">
                  <a:moveTo>
                    <a:pt x="55" y="0"/>
                  </a:moveTo>
                  <a:lnTo>
                    <a:pt x="55" y="343"/>
                  </a:lnTo>
                  <a:cubicBezTo>
                    <a:pt x="55" y="349"/>
                    <a:pt x="50" y="354"/>
                    <a:pt x="44" y="354"/>
                  </a:cubicBezTo>
                  <a:cubicBezTo>
                    <a:pt x="38" y="354"/>
                    <a:pt x="34" y="349"/>
                    <a:pt x="34" y="343"/>
                  </a:cubicBezTo>
                  <a:lnTo>
                    <a:pt x="34" y="160"/>
                  </a:lnTo>
                  <a:lnTo>
                    <a:pt x="0" y="160"/>
                  </a:lnTo>
                  <a:lnTo>
                    <a:pt x="0" y="343"/>
                  </a:lnTo>
                  <a:cubicBezTo>
                    <a:pt x="0" y="367"/>
                    <a:pt x="20" y="387"/>
                    <a:pt x="44" y="387"/>
                  </a:cubicBezTo>
                  <a:cubicBezTo>
                    <a:pt x="68" y="387"/>
                    <a:pt x="88" y="367"/>
                    <a:pt x="88" y="343"/>
                  </a:cubicBezTo>
                  <a:lnTo>
                    <a:pt x="88" y="133"/>
                  </a:lnTo>
                  <a:lnTo>
                    <a:pt x="88" y="0"/>
                  </a:lnTo>
                  <a:lnTo>
                    <a:pt x="55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375">
              <a:extLst>
                <a:ext uri="{FF2B5EF4-FFF2-40B4-BE49-F238E27FC236}">
                  <a16:creationId xmlns:a16="http://schemas.microsoft.com/office/drawing/2014/main" id="{CC797EE1-9BF3-7E6C-2648-96069BDDD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4482" y="3158880"/>
              <a:ext cx="180252" cy="819303"/>
            </a:xfrm>
            <a:custGeom>
              <a:avLst/>
              <a:gdLst>
                <a:gd name="T0" fmla="*/ 0 w 88"/>
                <a:gd name="T1" fmla="*/ 0 h 387"/>
                <a:gd name="T2" fmla="*/ 0 w 88"/>
                <a:gd name="T3" fmla="*/ 343 h 387"/>
                <a:gd name="T4" fmla="*/ 44 w 88"/>
                <a:gd name="T5" fmla="*/ 387 h 387"/>
                <a:gd name="T6" fmla="*/ 88 w 88"/>
                <a:gd name="T7" fmla="*/ 343 h 387"/>
                <a:gd name="T8" fmla="*/ 88 w 88"/>
                <a:gd name="T9" fmla="*/ 160 h 387"/>
                <a:gd name="T10" fmla="*/ 54 w 88"/>
                <a:gd name="T11" fmla="*/ 160 h 387"/>
                <a:gd name="T12" fmla="*/ 54 w 88"/>
                <a:gd name="T13" fmla="*/ 343 h 387"/>
                <a:gd name="T14" fmla="*/ 44 w 88"/>
                <a:gd name="T15" fmla="*/ 354 h 387"/>
                <a:gd name="T16" fmla="*/ 34 w 88"/>
                <a:gd name="T17" fmla="*/ 343 h 387"/>
                <a:gd name="T18" fmla="*/ 34 w 88"/>
                <a:gd name="T19" fmla="*/ 133 h 387"/>
                <a:gd name="T20" fmla="*/ 34 w 88"/>
                <a:gd name="T21" fmla="*/ 0 h 387"/>
                <a:gd name="T22" fmla="*/ 0 w 88"/>
                <a:gd name="T23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387">
                  <a:moveTo>
                    <a:pt x="0" y="0"/>
                  </a:moveTo>
                  <a:lnTo>
                    <a:pt x="0" y="343"/>
                  </a:lnTo>
                  <a:cubicBezTo>
                    <a:pt x="0" y="367"/>
                    <a:pt x="20" y="387"/>
                    <a:pt x="44" y="387"/>
                  </a:cubicBezTo>
                  <a:cubicBezTo>
                    <a:pt x="68" y="387"/>
                    <a:pt x="88" y="367"/>
                    <a:pt x="88" y="343"/>
                  </a:cubicBezTo>
                  <a:lnTo>
                    <a:pt x="88" y="160"/>
                  </a:lnTo>
                  <a:lnTo>
                    <a:pt x="54" y="160"/>
                  </a:lnTo>
                  <a:lnTo>
                    <a:pt x="54" y="343"/>
                  </a:lnTo>
                  <a:cubicBezTo>
                    <a:pt x="54" y="349"/>
                    <a:pt x="50" y="354"/>
                    <a:pt x="44" y="354"/>
                  </a:cubicBezTo>
                  <a:cubicBezTo>
                    <a:pt x="38" y="354"/>
                    <a:pt x="34" y="349"/>
                    <a:pt x="34" y="343"/>
                  </a:cubicBezTo>
                  <a:lnTo>
                    <a:pt x="34" y="133"/>
                  </a:lnTo>
                  <a:lnTo>
                    <a:pt x="3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DD90198-E7A6-06CB-618B-DC93662A4E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609" y="5507560"/>
              <a:ext cx="901239" cy="305862"/>
            </a:xfrm>
            <a:custGeom>
              <a:avLst/>
              <a:gdLst>
                <a:gd name="connsiteX0" fmla="*/ 573508 w 901239"/>
                <a:gd name="connsiteY0" fmla="*/ 0 h 305862"/>
                <a:gd name="connsiteX1" fmla="*/ 662613 w 901239"/>
                <a:gd name="connsiteY1" fmla="*/ 9552 h 305862"/>
                <a:gd name="connsiteX2" fmla="*/ 820277 w 901239"/>
                <a:gd name="connsiteY2" fmla="*/ 54643 h 305862"/>
                <a:gd name="connsiteX3" fmla="*/ 886325 w 901239"/>
                <a:gd name="connsiteY3" fmla="*/ 104028 h 305862"/>
                <a:gd name="connsiteX4" fmla="*/ 901239 w 901239"/>
                <a:gd name="connsiteY4" fmla="*/ 149119 h 305862"/>
                <a:gd name="connsiteX5" fmla="*/ 886325 w 901239"/>
                <a:gd name="connsiteY5" fmla="*/ 194209 h 305862"/>
                <a:gd name="connsiteX6" fmla="*/ 852236 w 901239"/>
                <a:gd name="connsiteY6" fmla="*/ 226417 h 305862"/>
                <a:gd name="connsiteX7" fmla="*/ 754229 w 901239"/>
                <a:gd name="connsiteY7" fmla="*/ 269360 h 305862"/>
                <a:gd name="connsiteX8" fmla="*/ 449554 w 901239"/>
                <a:gd name="connsiteY8" fmla="*/ 305862 h 305862"/>
                <a:gd name="connsiteX9" fmla="*/ 238626 w 901239"/>
                <a:gd name="connsiteY9" fmla="*/ 288685 h 305862"/>
                <a:gd name="connsiteX10" fmla="*/ 80963 w 901239"/>
                <a:gd name="connsiteY10" fmla="*/ 243594 h 305862"/>
                <a:gd name="connsiteX11" fmla="*/ 14914 w 901239"/>
                <a:gd name="connsiteY11" fmla="*/ 194209 h 305862"/>
                <a:gd name="connsiteX12" fmla="*/ 0 w 901239"/>
                <a:gd name="connsiteY12" fmla="*/ 149119 h 305862"/>
                <a:gd name="connsiteX13" fmla="*/ 14914 w 901239"/>
                <a:gd name="connsiteY13" fmla="*/ 104028 h 305862"/>
                <a:gd name="connsiteX14" fmla="*/ 46873 w 901239"/>
                <a:gd name="connsiteY14" fmla="*/ 73968 h 305862"/>
                <a:gd name="connsiteX15" fmla="*/ 147011 w 901239"/>
                <a:gd name="connsiteY15" fmla="*/ 31024 h 305862"/>
                <a:gd name="connsiteX16" fmla="*/ 283901 w 901239"/>
                <a:gd name="connsiteY16" fmla="*/ 3916 h 305862"/>
                <a:gd name="connsiteX17" fmla="*/ 327722 w 901239"/>
                <a:gd name="connsiteY17" fmla="*/ 1431 h 305862"/>
                <a:gd name="connsiteX18" fmla="*/ 327722 w 901239"/>
                <a:gd name="connsiteY18" fmla="*/ 72015 h 305862"/>
                <a:gd name="connsiteX19" fmla="*/ 255671 w 901239"/>
                <a:gd name="connsiteY19" fmla="*/ 80409 h 305862"/>
                <a:gd name="connsiteX20" fmla="*/ 117183 w 901239"/>
                <a:gd name="connsiteY20" fmla="*/ 116911 h 305862"/>
                <a:gd name="connsiteX21" fmla="*/ 74571 w 901239"/>
                <a:gd name="connsiteY21" fmla="*/ 144824 h 305862"/>
                <a:gd name="connsiteX22" fmla="*/ 70310 w 901239"/>
                <a:gd name="connsiteY22" fmla="*/ 149119 h 305862"/>
                <a:gd name="connsiteX23" fmla="*/ 72440 w 901239"/>
                <a:gd name="connsiteY23" fmla="*/ 153413 h 305862"/>
                <a:gd name="connsiteX24" fmla="*/ 87354 w 901239"/>
                <a:gd name="connsiteY24" fmla="*/ 166296 h 305862"/>
                <a:gd name="connsiteX25" fmla="*/ 166186 w 901239"/>
                <a:gd name="connsiteY25" fmla="*/ 200651 h 305862"/>
                <a:gd name="connsiteX26" fmla="*/ 449554 w 901239"/>
                <a:gd name="connsiteY26" fmla="*/ 235006 h 305862"/>
                <a:gd name="connsiteX27" fmla="*/ 645569 w 901239"/>
                <a:gd name="connsiteY27" fmla="*/ 219975 h 305862"/>
                <a:gd name="connsiteX28" fmla="*/ 784057 w 901239"/>
                <a:gd name="connsiteY28" fmla="*/ 183473 h 305862"/>
                <a:gd name="connsiteX29" fmla="*/ 826669 w 901239"/>
                <a:gd name="connsiteY29" fmla="*/ 155560 h 305862"/>
                <a:gd name="connsiteX30" fmla="*/ 830930 w 901239"/>
                <a:gd name="connsiteY30" fmla="*/ 149119 h 305862"/>
                <a:gd name="connsiteX31" fmla="*/ 828799 w 901239"/>
                <a:gd name="connsiteY31" fmla="*/ 146971 h 305862"/>
                <a:gd name="connsiteX32" fmla="*/ 813885 w 901239"/>
                <a:gd name="connsiteY32" fmla="*/ 131941 h 305862"/>
                <a:gd name="connsiteX33" fmla="*/ 735053 w 901239"/>
                <a:gd name="connsiteY33" fmla="*/ 99734 h 305862"/>
                <a:gd name="connsiteX34" fmla="*/ 608284 w 901239"/>
                <a:gd name="connsiteY34" fmla="*/ 74505 h 305862"/>
                <a:gd name="connsiteX35" fmla="*/ 573508 w 901239"/>
                <a:gd name="connsiteY35" fmla="*/ 71419 h 305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901239" h="305862">
                  <a:moveTo>
                    <a:pt x="573508" y="0"/>
                  </a:moveTo>
                  <a:lnTo>
                    <a:pt x="662613" y="9552"/>
                  </a:lnTo>
                  <a:cubicBezTo>
                    <a:pt x="726531" y="20288"/>
                    <a:pt x="779796" y="35319"/>
                    <a:pt x="820277" y="54643"/>
                  </a:cubicBezTo>
                  <a:cubicBezTo>
                    <a:pt x="847975" y="67526"/>
                    <a:pt x="871411" y="82556"/>
                    <a:pt x="886325" y="104028"/>
                  </a:cubicBezTo>
                  <a:cubicBezTo>
                    <a:pt x="894847" y="116911"/>
                    <a:pt x="901239" y="131941"/>
                    <a:pt x="901239" y="149119"/>
                  </a:cubicBezTo>
                  <a:cubicBezTo>
                    <a:pt x="901239" y="166296"/>
                    <a:pt x="894847" y="183473"/>
                    <a:pt x="886325" y="194209"/>
                  </a:cubicBezTo>
                  <a:cubicBezTo>
                    <a:pt x="877803" y="207092"/>
                    <a:pt x="867150" y="217828"/>
                    <a:pt x="852236" y="226417"/>
                  </a:cubicBezTo>
                  <a:cubicBezTo>
                    <a:pt x="826669" y="243594"/>
                    <a:pt x="794710" y="256477"/>
                    <a:pt x="754229" y="269360"/>
                  </a:cubicBezTo>
                  <a:cubicBezTo>
                    <a:pt x="675397" y="292979"/>
                    <a:pt x="568867" y="305862"/>
                    <a:pt x="449554" y="305862"/>
                  </a:cubicBezTo>
                  <a:cubicBezTo>
                    <a:pt x="372853" y="305862"/>
                    <a:pt x="300413" y="299421"/>
                    <a:pt x="238626" y="288685"/>
                  </a:cubicBezTo>
                  <a:cubicBezTo>
                    <a:pt x="174709" y="277949"/>
                    <a:pt x="121444" y="262919"/>
                    <a:pt x="80963" y="243594"/>
                  </a:cubicBezTo>
                  <a:cubicBezTo>
                    <a:pt x="53265" y="230711"/>
                    <a:pt x="29828" y="215681"/>
                    <a:pt x="14914" y="194209"/>
                  </a:cubicBezTo>
                  <a:cubicBezTo>
                    <a:pt x="6392" y="183473"/>
                    <a:pt x="0" y="166296"/>
                    <a:pt x="0" y="149119"/>
                  </a:cubicBezTo>
                  <a:cubicBezTo>
                    <a:pt x="0" y="131941"/>
                    <a:pt x="6392" y="116911"/>
                    <a:pt x="14914" y="104028"/>
                  </a:cubicBezTo>
                  <a:cubicBezTo>
                    <a:pt x="23437" y="93292"/>
                    <a:pt x="34090" y="82556"/>
                    <a:pt x="46873" y="73968"/>
                  </a:cubicBezTo>
                  <a:cubicBezTo>
                    <a:pt x="74571" y="56790"/>
                    <a:pt x="106530" y="41760"/>
                    <a:pt x="147011" y="31024"/>
                  </a:cubicBezTo>
                  <a:cubicBezTo>
                    <a:pt x="186427" y="19215"/>
                    <a:pt x="232767" y="10089"/>
                    <a:pt x="283901" y="3916"/>
                  </a:cubicBezTo>
                  <a:lnTo>
                    <a:pt x="327722" y="1431"/>
                  </a:lnTo>
                  <a:lnTo>
                    <a:pt x="327722" y="72015"/>
                  </a:lnTo>
                  <a:lnTo>
                    <a:pt x="255671" y="80409"/>
                  </a:lnTo>
                  <a:cubicBezTo>
                    <a:pt x="198145" y="88998"/>
                    <a:pt x="149141" y="101881"/>
                    <a:pt x="117183" y="116911"/>
                  </a:cubicBezTo>
                  <a:cubicBezTo>
                    <a:pt x="93746" y="127647"/>
                    <a:pt x="78832" y="138383"/>
                    <a:pt x="74571" y="144824"/>
                  </a:cubicBezTo>
                  <a:cubicBezTo>
                    <a:pt x="70310" y="149119"/>
                    <a:pt x="70310" y="149119"/>
                    <a:pt x="70310" y="149119"/>
                  </a:cubicBezTo>
                  <a:lnTo>
                    <a:pt x="72440" y="153413"/>
                  </a:lnTo>
                  <a:cubicBezTo>
                    <a:pt x="74571" y="155560"/>
                    <a:pt x="78832" y="162002"/>
                    <a:pt x="87354" y="166296"/>
                  </a:cubicBezTo>
                  <a:cubicBezTo>
                    <a:pt x="104399" y="177032"/>
                    <a:pt x="132097" y="189915"/>
                    <a:pt x="166186" y="200651"/>
                  </a:cubicBezTo>
                  <a:cubicBezTo>
                    <a:pt x="236496" y="219975"/>
                    <a:pt x="338764" y="235006"/>
                    <a:pt x="449554" y="235006"/>
                  </a:cubicBezTo>
                  <a:cubicBezTo>
                    <a:pt x="521994" y="235006"/>
                    <a:pt x="588043" y="228564"/>
                    <a:pt x="645569" y="219975"/>
                  </a:cubicBezTo>
                  <a:cubicBezTo>
                    <a:pt x="703094" y="211387"/>
                    <a:pt x="752098" y="196356"/>
                    <a:pt x="784057" y="183473"/>
                  </a:cubicBezTo>
                  <a:cubicBezTo>
                    <a:pt x="807493" y="172738"/>
                    <a:pt x="820277" y="162002"/>
                    <a:pt x="826669" y="155560"/>
                  </a:cubicBezTo>
                  <a:cubicBezTo>
                    <a:pt x="830930" y="151266"/>
                    <a:pt x="830930" y="149119"/>
                    <a:pt x="830930" y="149119"/>
                  </a:cubicBezTo>
                  <a:lnTo>
                    <a:pt x="828799" y="146971"/>
                  </a:lnTo>
                  <a:cubicBezTo>
                    <a:pt x="826669" y="142677"/>
                    <a:pt x="822407" y="138383"/>
                    <a:pt x="813885" y="131941"/>
                  </a:cubicBezTo>
                  <a:cubicBezTo>
                    <a:pt x="796840" y="121205"/>
                    <a:pt x="769143" y="110470"/>
                    <a:pt x="735053" y="99734"/>
                  </a:cubicBezTo>
                  <a:cubicBezTo>
                    <a:pt x="699899" y="88998"/>
                    <a:pt x="656755" y="80409"/>
                    <a:pt x="608284" y="74505"/>
                  </a:cubicBezTo>
                  <a:lnTo>
                    <a:pt x="573508" y="7141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377">
              <a:extLst>
                <a:ext uri="{FF2B5EF4-FFF2-40B4-BE49-F238E27FC236}">
                  <a16:creationId xmlns:a16="http://schemas.microsoft.com/office/drawing/2014/main" id="{1CCE4059-302C-4451-35BC-5181078DF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6963" y="4928575"/>
              <a:ext cx="524354" cy="639062"/>
            </a:xfrm>
            <a:custGeom>
              <a:avLst/>
              <a:gdLst>
                <a:gd name="T0" fmla="*/ 223 w 249"/>
                <a:gd name="T1" fmla="*/ 0 h 295"/>
                <a:gd name="T2" fmla="*/ 0 w 249"/>
                <a:gd name="T3" fmla="*/ 273 h 295"/>
                <a:gd name="T4" fmla="*/ 26 w 249"/>
                <a:gd name="T5" fmla="*/ 295 h 295"/>
                <a:gd name="T6" fmla="*/ 249 w 249"/>
                <a:gd name="T7" fmla="*/ 21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" h="295">
                  <a:moveTo>
                    <a:pt x="223" y="0"/>
                  </a:moveTo>
                  <a:lnTo>
                    <a:pt x="0" y="273"/>
                  </a:lnTo>
                  <a:lnTo>
                    <a:pt x="26" y="295"/>
                  </a:lnTo>
                  <a:lnTo>
                    <a:pt x="249" y="21"/>
                  </a:ln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378">
              <a:extLst>
                <a:ext uri="{FF2B5EF4-FFF2-40B4-BE49-F238E27FC236}">
                  <a16:creationId xmlns:a16="http://schemas.microsoft.com/office/drawing/2014/main" id="{08E6E9B2-B9B5-FFFE-89A8-6A18DF212A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7558" y="4518918"/>
              <a:ext cx="294949" cy="294949"/>
            </a:xfrm>
            <a:custGeom>
              <a:avLst/>
              <a:gdLst>
                <a:gd name="T0" fmla="*/ 123 w 139"/>
                <a:gd name="T1" fmla="*/ 70 h 140"/>
                <a:gd name="T2" fmla="*/ 106 w 139"/>
                <a:gd name="T3" fmla="*/ 70 h 140"/>
                <a:gd name="T4" fmla="*/ 69 w 139"/>
                <a:gd name="T5" fmla="*/ 106 h 140"/>
                <a:gd name="T6" fmla="*/ 33 w 139"/>
                <a:gd name="T7" fmla="*/ 70 h 140"/>
                <a:gd name="T8" fmla="*/ 69 w 139"/>
                <a:gd name="T9" fmla="*/ 33 h 140"/>
                <a:gd name="T10" fmla="*/ 106 w 139"/>
                <a:gd name="T11" fmla="*/ 70 h 140"/>
                <a:gd name="T12" fmla="*/ 123 w 139"/>
                <a:gd name="T13" fmla="*/ 70 h 140"/>
                <a:gd name="T14" fmla="*/ 139 w 139"/>
                <a:gd name="T15" fmla="*/ 70 h 140"/>
                <a:gd name="T16" fmla="*/ 69 w 139"/>
                <a:gd name="T17" fmla="*/ 0 h 140"/>
                <a:gd name="T18" fmla="*/ 0 w 139"/>
                <a:gd name="T19" fmla="*/ 70 h 140"/>
                <a:gd name="T20" fmla="*/ 69 w 139"/>
                <a:gd name="T21" fmla="*/ 140 h 140"/>
                <a:gd name="T22" fmla="*/ 139 w 139"/>
                <a:gd name="T23" fmla="*/ 70 h 140"/>
                <a:gd name="T24" fmla="*/ 123 w 139"/>
                <a:gd name="T25" fmla="*/ 7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140">
                  <a:moveTo>
                    <a:pt x="123" y="70"/>
                  </a:moveTo>
                  <a:lnTo>
                    <a:pt x="106" y="70"/>
                  </a:lnTo>
                  <a:cubicBezTo>
                    <a:pt x="106" y="90"/>
                    <a:pt x="90" y="106"/>
                    <a:pt x="69" y="106"/>
                  </a:cubicBezTo>
                  <a:cubicBezTo>
                    <a:pt x="49" y="106"/>
                    <a:pt x="33" y="90"/>
                    <a:pt x="33" y="70"/>
                  </a:cubicBezTo>
                  <a:cubicBezTo>
                    <a:pt x="33" y="49"/>
                    <a:pt x="49" y="33"/>
                    <a:pt x="69" y="33"/>
                  </a:cubicBezTo>
                  <a:cubicBezTo>
                    <a:pt x="90" y="33"/>
                    <a:pt x="106" y="49"/>
                    <a:pt x="106" y="70"/>
                  </a:cubicBezTo>
                  <a:lnTo>
                    <a:pt x="123" y="70"/>
                  </a:lnTo>
                  <a:lnTo>
                    <a:pt x="139" y="70"/>
                  </a:lnTo>
                  <a:cubicBezTo>
                    <a:pt x="139" y="31"/>
                    <a:pt x="108" y="0"/>
                    <a:pt x="69" y="0"/>
                  </a:cubicBezTo>
                  <a:cubicBezTo>
                    <a:pt x="31" y="0"/>
                    <a:pt x="0" y="31"/>
                    <a:pt x="0" y="70"/>
                  </a:cubicBezTo>
                  <a:cubicBezTo>
                    <a:pt x="0" y="108"/>
                    <a:pt x="31" y="140"/>
                    <a:pt x="69" y="140"/>
                  </a:cubicBezTo>
                  <a:cubicBezTo>
                    <a:pt x="108" y="140"/>
                    <a:pt x="139" y="108"/>
                    <a:pt x="139" y="70"/>
                  </a:cubicBezTo>
                  <a:lnTo>
                    <a:pt x="123" y="7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379">
              <a:extLst>
                <a:ext uri="{FF2B5EF4-FFF2-40B4-BE49-F238E27FC236}">
                  <a16:creationId xmlns:a16="http://schemas.microsoft.com/office/drawing/2014/main" id="{88596D35-82A1-AF95-B290-FDAF64776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623" y="4764714"/>
              <a:ext cx="213024" cy="491582"/>
            </a:xfrm>
            <a:custGeom>
              <a:avLst/>
              <a:gdLst>
                <a:gd name="T0" fmla="*/ 70 w 103"/>
                <a:gd name="T1" fmla="*/ 0 h 235"/>
                <a:gd name="T2" fmla="*/ 62 w 103"/>
                <a:gd name="T3" fmla="*/ 10 h 235"/>
                <a:gd name="T4" fmla="*/ 48 w 103"/>
                <a:gd name="T5" fmla="*/ 13 h 235"/>
                <a:gd name="T6" fmla="*/ 0 w 103"/>
                <a:gd name="T7" fmla="*/ 72 h 235"/>
                <a:gd name="T8" fmla="*/ 0 w 103"/>
                <a:gd name="T9" fmla="*/ 174 h 235"/>
                <a:gd name="T10" fmla="*/ 61 w 103"/>
                <a:gd name="T11" fmla="*/ 235 h 235"/>
                <a:gd name="T12" fmla="*/ 61 w 103"/>
                <a:gd name="T13" fmla="*/ 202 h 235"/>
                <a:gd name="T14" fmla="*/ 34 w 103"/>
                <a:gd name="T15" fmla="*/ 174 h 235"/>
                <a:gd name="T16" fmla="*/ 34 w 103"/>
                <a:gd name="T17" fmla="*/ 72 h 235"/>
                <a:gd name="T18" fmla="*/ 55 w 103"/>
                <a:gd name="T19" fmla="*/ 45 h 235"/>
                <a:gd name="T20" fmla="*/ 69 w 103"/>
                <a:gd name="T21" fmla="*/ 42 h 235"/>
                <a:gd name="T22" fmla="*/ 103 w 103"/>
                <a:gd name="T23" fmla="*/ 0 h 235"/>
                <a:gd name="T24" fmla="*/ 70 w 103"/>
                <a:gd name="T25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235">
                  <a:moveTo>
                    <a:pt x="70" y="0"/>
                  </a:moveTo>
                  <a:cubicBezTo>
                    <a:pt x="70" y="5"/>
                    <a:pt x="67" y="9"/>
                    <a:pt x="62" y="10"/>
                  </a:cubicBezTo>
                  <a:lnTo>
                    <a:pt x="48" y="13"/>
                  </a:lnTo>
                  <a:cubicBezTo>
                    <a:pt x="20" y="19"/>
                    <a:pt x="0" y="44"/>
                    <a:pt x="0" y="72"/>
                  </a:cubicBezTo>
                  <a:lnTo>
                    <a:pt x="0" y="174"/>
                  </a:lnTo>
                  <a:cubicBezTo>
                    <a:pt x="0" y="208"/>
                    <a:pt x="28" y="235"/>
                    <a:pt x="61" y="235"/>
                  </a:cubicBezTo>
                  <a:lnTo>
                    <a:pt x="61" y="202"/>
                  </a:lnTo>
                  <a:cubicBezTo>
                    <a:pt x="46" y="202"/>
                    <a:pt x="34" y="189"/>
                    <a:pt x="34" y="174"/>
                  </a:cubicBezTo>
                  <a:lnTo>
                    <a:pt x="34" y="72"/>
                  </a:lnTo>
                  <a:cubicBezTo>
                    <a:pt x="34" y="59"/>
                    <a:pt x="42" y="48"/>
                    <a:pt x="55" y="45"/>
                  </a:cubicBezTo>
                  <a:lnTo>
                    <a:pt x="69" y="42"/>
                  </a:lnTo>
                  <a:cubicBezTo>
                    <a:pt x="89" y="38"/>
                    <a:pt x="103" y="20"/>
                    <a:pt x="103" y="0"/>
                  </a:cubicBezTo>
                  <a:lnTo>
                    <a:pt x="7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380">
              <a:extLst>
                <a:ext uri="{FF2B5EF4-FFF2-40B4-BE49-F238E27FC236}">
                  <a16:creationId xmlns:a16="http://schemas.microsoft.com/office/drawing/2014/main" id="{E325A4EC-0CAD-8922-AAC9-216C2F957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7800" y="4764714"/>
              <a:ext cx="213024" cy="491582"/>
            </a:xfrm>
            <a:custGeom>
              <a:avLst/>
              <a:gdLst>
                <a:gd name="T0" fmla="*/ 0 w 103"/>
                <a:gd name="T1" fmla="*/ 0 h 235"/>
                <a:gd name="T2" fmla="*/ 33 w 103"/>
                <a:gd name="T3" fmla="*/ 42 h 235"/>
                <a:gd name="T4" fmla="*/ 48 w 103"/>
                <a:gd name="T5" fmla="*/ 45 h 235"/>
                <a:gd name="T6" fmla="*/ 69 w 103"/>
                <a:gd name="T7" fmla="*/ 72 h 235"/>
                <a:gd name="T8" fmla="*/ 69 w 103"/>
                <a:gd name="T9" fmla="*/ 174 h 235"/>
                <a:gd name="T10" fmla="*/ 42 w 103"/>
                <a:gd name="T11" fmla="*/ 202 h 235"/>
                <a:gd name="T12" fmla="*/ 42 w 103"/>
                <a:gd name="T13" fmla="*/ 235 h 235"/>
                <a:gd name="T14" fmla="*/ 103 w 103"/>
                <a:gd name="T15" fmla="*/ 174 h 235"/>
                <a:gd name="T16" fmla="*/ 103 w 103"/>
                <a:gd name="T17" fmla="*/ 72 h 235"/>
                <a:gd name="T18" fmla="*/ 55 w 103"/>
                <a:gd name="T19" fmla="*/ 13 h 235"/>
                <a:gd name="T20" fmla="*/ 41 w 103"/>
                <a:gd name="T21" fmla="*/ 10 h 235"/>
                <a:gd name="T22" fmla="*/ 33 w 103"/>
                <a:gd name="T23" fmla="*/ 0 h 235"/>
                <a:gd name="T24" fmla="*/ 0 w 103"/>
                <a:gd name="T25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235">
                  <a:moveTo>
                    <a:pt x="0" y="0"/>
                  </a:moveTo>
                  <a:cubicBezTo>
                    <a:pt x="0" y="20"/>
                    <a:pt x="14" y="38"/>
                    <a:pt x="33" y="42"/>
                  </a:cubicBezTo>
                  <a:lnTo>
                    <a:pt x="48" y="45"/>
                  </a:lnTo>
                  <a:cubicBezTo>
                    <a:pt x="60" y="48"/>
                    <a:pt x="69" y="59"/>
                    <a:pt x="69" y="72"/>
                  </a:cubicBezTo>
                  <a:lnTo>
                    <a:pt x="69" y="174"/>
                  </a:lnTo>
                  <a:cubicBezTo>
                    <a:pt x="69" y="189"/>
                    <a:pt x="57" y="202"/>
                    <a:pt x="42" y="202"/>
                  </a:cubicBezTo>
                  <a:lnTo>
                    <a:pt x="42" y="235"/>
                  </a:lnTo>
                  <a:cubicBezTo>
                    <a:pt x="75" y="235"/>
                    <a:pt x="103" y="208"/>
                    <a:pt x="103" y="174"/>
                  </a:cubicBezTo>
                  <a:lnTo>
                    <a:pt x="103" y="72"/>
                  </a:lnTo>
                  <a:cubicBezTo>
                    <a:pt x="103" y="44"/>
                    <a:pt x="83" y="19"/>
                    <a:pt x="55" y="13"/>
                  </a:cubicBezTo>
                  <a:lnTo>
                    <a:pt x="41" y="10"/>
                  </a:lnTo>
                  <a:cubicBezTo>
                    <a:pt x="36" y="9"/>
                    <a:pt x="33" y="5"/>
                    <a:pt x="33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382">
              <a:extLst>
                <a:ext uri="{FF2B5EF4-FFF2-40B4-BE49-F238E27FC236}">
                  <a16:creationId xmlns:a16="http://schemas.microsoft.com/office/drawing/2014/main" id="{B4B709BA-92FA-4EA3-5EC9-775B577F9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7558" y="4895802"/>
              <a:ext cx="196633" cy="819303"/>
            </a:xfrm>
            <a:custGeom>
              <a:avLst/>
              <a:gdLst>
                <a:gd name="T0" fmla="*/ 0 w 87"/>
                <a:gd name="T1" fmla="*/ 0 h 387"/>
                <a:gd name="T2" fmla="*/ 0 w 87"/>
                <a:gd name="T3" fmla="*/ 343 h 387"/>
                <a:gd name="T4" fmla="*/ 43 w 87"/>
                <a:gd name="T5" fmla="*/ 387 h 387"/>
                <a:gd name="T6" fmla="*/ 87 w 87"/>
                <a:gd name="T7" fmla="*/ 343 h 387"/>
                <a:gd name="T8" fmla="*/ 87 w 87"/>
                <a:gd name="T9" fmla="*/ 160 h 387"/>
                <a:gd name="T10" fmla="*/ 54 w 87"/>
                <a:gd name="T11" fmla="*/ 160 h 387"/>
                <a:gd name="T12" fmla="*/ 54 w 87"/>
                <a:gd name="T13" fmla="*/ 343 h 387"/>
                <a:gd name="T14" fmla="*/ 43 w 87"/>
                <a:gd name="T15" fmla="*/ 354 h 387"/>
                <a:gd name="T16" fmla="*/ 33 w 87"/>
                <a:gd name="T17" fmla="*/ 343 h 387"/>
                <a:gd name="T18" fmla="*/ 33 w 87"/>
                <a:gd name="T19" fmla="*/ 133 h 387"/>
                <a:gd name="T20" fmla="*/ 33 w 87"/>
                <a:gd name="T21" fmla="*/ 0 h 387"/>
                <a:gd name="T22" fmla="*/ 0 w 87"/>
                <a:gd name="T23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387">
                  <a:moveTo>
                    <a:pt x="0" y="0"/>
                  </a:moveTo>
                  <a:lnTo>
                    <a:pt x="0" y="343"/>
                  </a:lnTo>
                  <a:cubicBezTo>
                    <a:pt x="0" y="367"/>
                    <a:pt x="19" y="387"/>
                    <a:pt x="43" y="387"/>
                  </a:cubicBezTo>
                  <a:cubicBezTo>
                    <a:pt x="68" y="387"/>
                    <a:pt x="87" y="367"/>
                    <a:pt x="87" y="343"/>
                  </a:cubicBezTo>
                  <a:lnTo>
                    <a:pt x="87" y="160"/>
                  </a:lnTo>
                  <a:lnTo>
                    <a:pt x="54" y="160"/>
                  </a:lnTo>
                  <a:lnTo>
                    <a:pt x="54" y="343"/>
                  </a:lnTo>
                  <a:cubicBezTo>
                    <a:pt x="54" y="349"/>
                    <a:pt x="49" y="354"/>
                    <a:pt x="43" y="354"/>
                  </a:cubicBezTo>
                  <a:cubicBezTo>
                    <a:pt x="38" y="354"/>
                    <a:pt x="33" y="349"/>
                    <a:pt x="33" y="343"/>
                  </a:cubicBezTo>
                  <a:lnTo>
                    <a:pt x="33" y="133"/>
                  </a:lnTo>
                  <a:lnTo>
                    <a:pt x="3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384">
              <a:extLst>
                <a:ext uri="{FF2B5EF4-FFF2-40B4-BE49-F238E27FC236}">
                  <a16:creationId xmlns:a16="http://schemas.microsoft.com/office/drawing/2014/main" id="{C91E8316-4D72-4CBD-F6A7-9F0ECBF6C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2256" y="4895802"/>
              <a:ext cx="196633" cy="819303"/>
            </a:xfrm>
            <a:custGeom>
              <a:avLst/>
              <a:gdLst>
                <a:gd name="T0" fmla="*/ 54 w 87"/>
                <a:gd name="T1" fmla="*/ 0 h 387"/>
                <a:gd name="T2" fmla="*/ 54 w 87"/>
                <a:gd name="T3" fmla="*/ 343 h 387"/>
                <a:gd name="T4" fmla="*/ 43 w 87"/>
                <a:gd name="T5" fmla="*/ 354 h 387"/>
                <a:gd name="T6" fmla="*/ 33 w 87"/>
                <a:gd name="T7" fmla="*/ 343 h 387"/>
                <a:gd name="T8" fmla="*/ 33 w 87"/>
                <a:gd name="T9" fmla="*/ 160 h 387"/>
                <a:gd name="T10" fmla="*/ 0 w 87"/>
                <a:gd name="T11" fmla="*/ 160 h 387"/>
                <a:gd name="T12" fmla="*/ 0 w 87"/>
                <a:gd name="T13" fmla="*/ 343 h 387"/>
                <a:gd name="T14" fmla="*/ 43 w 87"/>
                <a:gd name="T15" fmla="*/ 387 h 387"/>
                <a:gd name="T16" fmla="*/ 87 w 87"/>
                <a:gd name="T17" fmla="*/ 343 h 387"/>
                <a:gd name="T18" fmla="*/ 87 w 87"/>
                <a:gd name="T19" fmla="*/ 133 h 387"/>
                <a:gd name="T20" fmla="*/ 87 w 87"/>
                <a:gd name="T21" fmla="*/ 0 h 387"/>
                <a:gd name="T22" fmla="*/ 54 w 87"/>
                <a:gd name="T23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387">
                  <a:moveTo>
                    <a:pt x="54" y="0"/>
                  </a:moveTo>
                  <a:lnTo>
                    <a:pt x="54" y="343"/>
                  </a:lnTo>
                  <a:cubicBezTo>
                    <a:pt x="54" y="349"/>
                    <a:pt x="49" y="354"/>
                    <a:pt x="43" y="354"/>
                  </a:cubicBezTo>
                  <a:cubicBezTo>
                    <a:pt x="38" y="354"/>
                    <a:pt x="33" y="349"/>
                    <a:pt x="33" y="343"/>
                  </a:cubicBezTo>
                  <a:lnTo>
                    <a:pt x="33" y="160"/>
                  </a:lnTo>
                  <a:lnTo>
                    <a:pt x="0" y="160"/>
                  </a:lnTo>
                  <a:lnTo>
                    <a:pt x="0" y="343"/>
                  </a:lnTo>
                  <a:cubicBezTo>
                    <a:pt x="0" y="367"/>
                    <a:pt x="19" y="387"/>
                    <a:pt x="43" y="387"/>
                  </a:cubicBezTo>
                  <a:cubicBezTo>
                    <a:pt x="68" y="387"/>
                    <a:pt x="87" y="367"/>
                    <a:pt x="87" y="343"/>
                  </a:cubicBezTo>
                  <a:lnTo>
                    <a:pt x="87" y="133"/>
                  </a:lnTo>
                  <a:lnTo>
                    <a:pt x="87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13BB0D22-1936-5B0E-EC2A-8EA2EB089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6166" y="5506884"/>
              <a:ext cx="884848" cy="306539"/>
            </a:xfrm>
            <a:custGeom>
              <a:avLst/>
              <a:gdLst>
                <a:gd name="connsiteX0" fmla="*/ 557127 w 884848"/>
                <a:gd name="connsiteY0" fmla="*/ 0 h 306539"/>
                <a:gd name="connsiteX1" fmla="*/ 650562 w 884848"/>
                <a:gd name="connsiteY1" fmla="*/ 10229 h 306539"/>
                <a:gd name="connsiteX2" fmla="*/ 807450 w 884848"/>
                <a:gd name="connsiteY2" fmla="*/ 55320 h 306539"/>
                <a:gd name="connsiteX3" fmla="*/ 870205 w 884848"/>
                <a:gd name="connsiteY3" fmla="*/ 104705 h 306539"/>
                <a:gd name="connsiteX4" fmla="*/ 884848 w 884848"/>
                <a:gd name="connsiteY4" fmla="*/ 149796 h 306539"/>
                <a:gd name="connsiteX5" fmla="*/ 870205 w 884848"/>
                <a:gd name="connsiteY5" fmla="*/ 194886 h 306539"/>
                <a:gd name="connsiteX6" fmla="*/ 838828 w 884848"/>
                <a:gd name="connsiteY6" fmla="*/ 227094 h 306539"/>
                <a:gd name="connsiteX7" fmla="*/ 740511 w 884848"/>
                <a:gd name="connsiteY7" fmla="*/ 270037 h 306539"/>
                <a:gd name="connsiteX8" fmla="*/ 443470 w 884848"/>
                <a:gd name="connsiteY8" fmla="*/ 306539 h 306539"/>
                <a:gd name="connsiteX9" fmla="*/ 234286 w 884848"/>
                <a:gd name="connsiteY9" fmla="*/ 289362 h 306539"/>
                <a:gd name="connsiteX10" fmla="*/ 79490 w 884848"/>
                <a:gd name="connsiteY10" fmla="*/ 244271 h 306539"/>
                <a:gd name="connsiteX11" fmla="*/ 14643 w 884848"/>
                <a:gd name="connsiteY11" fmla="*/ 194886 h 306539"/>
                <a:gd name="connsiteX12" fmla="*/ 0 w 884848"/>
                <a:gd name="connsiteY12" fmla="*/ 149796 h 306539"/>
                <a:gd name="connsiteX13" fmla="*/ 14643 w 884848"/>
                <a:gd name="connsiteY13" fmla="*/ 104705 h 306539"/>
                <a:gd name="connsiteX14" fmla="*/ 48113 w 884848"/>
                <a:gd name="connsiteY14" fmla="*/ 74645 h 306539"/>
                <a:gd name="connsiteX15" fmla="*/ 144337 w 884848"/>
                <a:gd name="connsiteY15" fmla="*/ 31701 h 306539"/>
                <a:gd name="connsiteX16" fmla="*/ 279784 w 884848"/>
                <a:gd name="connsiteY16" fmla="*/ 4593 h 306539"/>
                <a:gd name="connsiteX17" fmla="*/ 327721 w 884848"/>
                <a:gd name="connsiteY17" fmla="*/ 1842 h 306539"/>
                <a:gd name="connsiteX18" fmla="*/ 327721 w 884848"/>
                <a:gd name="connsiteY18" fmla="*/ 72011 h 306539"/>
                <a:gd name="connsiteX19" fmla="*/ 251021 w 884848"/>
                <a:gd name="connsiteY19" fmla="*/ 81086 h 306539"/>
                <a:gd name="connsiteX20" fmla="*/ 115051 w 884848"/>
                <a:gd name="connsiteY20" fmla="*/ 117588 h 306539"/>
                <a:gd name="connsiteX21" fmla="*/ 73215 w 884848"/>
                <a:gd name="connsiteY21" fmla="*/ 145501 h 306539"/>
                <a:gd name="connsiteX22" fmla="*/ 69031 w 884848"/>
                <a:gd name="connsiteY22" fmla="*/ 149796 h 306539"/>
                <a:gd name="connsiteX23" fmla="*/ 71123 w 884848"/>
                <a:gd name="connsiteY23" fmla="*/ 154090 h 306539"/>
                <a:gd name="connsiteX24" fmla="*/ 85766 w 884848"/>
                <a:gd name="connsiteY24" fmla="*/ 166973 h 306539"/>
                <a:gd name="connsiteX25" fmla="*/ 163164 w 884848"/>
                <a:gd name="connsiteY25" fmla="*/ 201328 h 306539"/>
                <a:gd name="connsiteX26" fmla="*/ 443470 w 884848"/>
                <a:gd name="connsiteY26" fmla="*/ 235683 h 306539"/>
                <a:gd name="connsiteX27" fmla="*/ 633827 w 884848"/>
                <a:gd name="connsiteY27" fmla="*/ 220652 h 306539"/>
                <a:gd name="connsiteX28" fmla="*/ 769797 w 884848"/>
                <a:gd name="connsiteY28" fmla="*/ 184150 h 306539"/>
                <a:gd name="connsiteX29" fmla="*/ 811634 w 884848"/>
                <a:gd name="connsiteY29" fmla="*/ 156237 h 306539"/>
                <a:gd name="connsiteX30" fmla="*/ 815817 w 884848"/>
                <a:gd name="connsiteY30" fmla="*/ 149796 h 306539"/>
                <a:gd name="connsiteX31" fmla="*/ 813725 w 884848"/>
                <a:gd name="connsiteY31" fmla="*/ 147648 h 306539"/>
                <a:gd name="connsiteX32" fmla="*/ 799083 w 884848"/>
                <a:gd name="connsiteY32" fmla="*/ 132618 h 306539"/>
                <a:gd name="connsiteX33" fmla="*/ 721685 w 884848"/>
                <a:gd name="connsiteY33" fmla="*/ 100411 h 306539"/>
                <a:gd name="connsiteX34" fmla="*/ 597482 w 884848"/>
                <a:gd name="connsiteY34" fmla="*/ 75182 h 306539"/>
                <a:gd name="connsiteX35" fmla="*/ 557127 w 884848"/>
                <a:gd name="connsiteY35" fmla="*/ 72791 h 30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884848" h="306539">
                  <a:moveTo>
                    <a:pt x="557127" y="0"/>
                  </a:moveTo>
                  <a:lnTo>
                    <a:pt x="650562" y="10229"/>
                  </a:lnTo>
                  <a:cubicBezTo>
                    <a:pt x="713317" y="20965"/>
                    <a:pt x="765613" y="35996"/>
                    <a:pt x="807450" y="55320"/>
                  </a:cubicBezTo>
                  <a:cubicBezTo>
                    <a:pt x="832552" y="68203"/>
                    <a:pt x="855562" y="83233"/>
                    <a:pt x="870205" y="104705"/>
                  </a:cubicBezTo>
                  <a:cubicBezTo>
                    <a:pt x="878572" y="117588"/>
                    <a:pt x="884848" y="132618"/>
                    <a:pt x="884848" y="149796"/>
                  </a:cubicBezTo>
                  <a:cubicBezTo>
                    <a:pt x="884848" y="166973"/>
                    <a:pt x="878572" y="184150"/>
                    <a:pt x="870205" y="194886"/>
                  </a:cubicBezTo>
                  <a:cubicBezTo>
                    <a:pt x="861838" y="207769"/>
                    <a:pt x="851379" y="218505"/>
                    <a:pt x="838828" y="227094"/>
                  </a:cubicBezTo>
                  <a:cubicBezTo>
                    <a:pt x="811634" y="244271"/>
                    <a:pt x="780256" y="257154"/>
                    <a:pt x="740511" y="270037"/>
                  </a:cubicBezTo>
                  <a:cubicBezTo>
                    <a:pt x="663113" y="293656"/>
                    <a:pt x="558521" y="306539"/>
                    <a:pt x="443470" y="306539"/>
                  </a:cubicBezTo>
                  <a:cubicBezTo>
                    <a:pt x="366072" y="306539"/>
                    <a:pt x="294950" y="300098"/>
                    <a:pt x="234286" y="289362"/>
                  </a:cubicBezTo>
                  <a:cubicBezTo>
                    <a:pt x="171531" y="278626"/>
                    <a:pt x="119235" y="263596"/>
                    <a:pt x="79490" y="244271"/>
                  </a:cubicBezTo>
                  <a:cubicBezTo>
                    <a:pt x="52296" y="231388"/>
                    <a:pt x="29286" y="216358"/>
                    <a:pt x="14643" y="194886"/>
                  </a:cubicBezTo>
                  <a:cubicBezTo>
                    <a:pt x="6276" y="184150"/>
                    <a:pt x="0" y="166973"/>
                    <a:pt x="0" y="149796"/>
                  </a:cubicBezTo>
                  <a:cubicBezTo>
                    <a:pt x="0" y="132618"/>
                    <a:pt x="6276" y="117588"/>
                    <a:pt x="14643" y="104705"/>
                  </a:cubicBezTo>
                  <a:cubicBezTo>
                    <a:pt x="23010" y="93969"/>
                    <a:pt x="35562" y="83233"/>
                    <a:pt x="48113" y="74645"/>
                  </a:cubicBezTo>
                  <a:cubicBezTo>
                    <a:pt x="73215" y="57467"/>
                    <a:pt x="104592" y="42437"/>
                    <a:pt x="144337" y="31701"/>
                  </a:cubicBezTo>
                  <a:cubicBezTo>
                    <a:pt x="184082" y="19892"/>
                    <a:pt x="229580" y="10766"/>
                    <a:pt x="279784" y="4593"/>
                  </a:cubicBezTo>
                  <a:lnTo>
                    <a:pt x="327721" y="1842"/>
                  </a:lnTo>
                  <a:lnTo>
                    <a:pt x="327721" y="72011"/>
                  </a:lnTo>
                  <a:lnTo>
                    <a:pt x="251021" y="81086"/>
                  </a:lnTo>
                  <a:cubicBezTo>
                    <a:pt x="194541" y="89675"/>
                    <a:pt x="146429" y="102558"/>
                    <a:pt x="115051" y="117588"/>
                  </a:cubicBezTo>
                  <a:cubicBezTo>
                    <a:pt x="94133" y="128324"/>
                    <a:pt x="79490" y="139060"/>
                    <a:pt x="73215" y="145501"/>
                  </a:cubicBezTo>
                  <a:cubicBezTo>
                    <a:pt x="69031" y="149796"/>
                    <a:pt x="69031" y="149796"/>
                    <a:pt x="69031" y="149796"/>
                  </a:cubicBezTo>
                  <a:lnTo>
                    <a:pt x="71123" y="154090"/>
                  </a:lnTo>
                  <a:cubicBezTo>
                    <a:pt x="73215" y="156237"/>
                    <a:pt x="79490" y="162679"/>
                    <a:pt x="85766" y="166973"/>
                  </a:cubicBezTo>
                  <a:cubicBezTo>
                    <a:pt x="102500" y="177709"/>
                    <a:pt x="129694" y="190592"/>
                    <a:pt x="163164" y="201328"/>
                  </a:cubicBezTo>
                  <a:cubicBezTo>
                    <a:pt x="234286" y="220652"/>
                    <a:pt x="332603" y="235683"/>
                    <a:pt x="443470" y="235683"/>
                  </a:cubicBezTo>
                  <a:cubicBezTo>
                    <a:pt x="512501" y="235683"/>
                    <a:pt x="577348" y="229241"/>
                    <a:pt x="633827" y="220652"/>
                  </a:cubicBezTo>
                  <a:cubicBezTo>
                    <a:pt x="690307" y="212064"/>
                    <a:pt x="738419" y="197033"/>
                    <a:pt x="769797" y="184150"/>
                  </a:cubicBezTo>
                  <a:cubicBezTo>
                    <a:pt x="792807" y="173415"/>
                    <a:pt x="807450" y="162679"/>
                    <a:pt x="811634" y="156237"/>
                  </a:cubicBezTo>
                  <a:cubicBezTo>
                    <a:pt x="815817" y="151943"/>
                    <a:pt x="815817" y="149796"/>
                    <a:pt x="815817" y="149796"/>
                  </a:cubicBezTo>
                  <a:lnTo>
                    <a:pt x="813725" y="147648"/>
                  </a:lnTo>
                  <a:cubicBezTo>
                    <a:pt x="811634" y="143354"/>
                    <a:pt x="807450" y="139060"/>
                    <a:pt x="799083" y="132618"/>
                  </a:cubicBezTo>
                  <a:cubicBezTo>
                    <a:pt x="782348" y="121882"/>
                    <a:pt x="755154" y="111147"/>
                    <a:pt x="721685" y="100411"/>
                  </a:cubicBezTo>
                  <a:cubicBezTo>
                    <a:pt x="687170" y="89675"/>
                    <a:pt x="644810" y="81086"/>
                    <a:pt x="597482" y="75182"/>
                  </a:cubicBezTo>
                  <a:lnTo>
                    <a:pt x="557127" y="7279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386">
              <a:extLst>
                <a:ext uri="{FF2B5EF4-FFF2-40B4-BE49-F238E27FC236}">
                  <a16:creationId xmlns:a16="http://schemas.microsoft.com/office/drawing/2014/main" id="{A7424F22-DA0F-1A09-4806-B529BABB5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686" y="4928575"/>
              <a:ext cx="524354" cy="639062"/>
            </a:xfrm>
            <a:custGeom>
              <a:avLst/>
              <a:gdLst>
                <a:gd name="T0" fmla="*/ 0 w 244"/>
                <a:gd name="T1" fmla="*/ 21 h 294"/>
                <a:gd name="T2" fmla="*/ 218 w 244"/>
                <a:gd name="T3" fmla="*/ 294 h 294"/>
                <a:gd name="T4" fmla="*/ 244 w 244"/>
                <a:gd name="T5" fmla="*/ 274 h 294"/>
                <a:gd name="T6" fmla="*/ 26 w 244"/>
                <a:gd name="T7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4" h="294">
                  <a:moveTo>
                    <a:pt x="0" y="21"/>
                  </a:moveTo>
                  <a:lnTo>
                    <a:pt x="218" y="294"/>
                  </a:lnTo>
                  <a:lnTo>
                    <a:pt x="244" y="274"/>
                  </a:lnTo>
                  <a:lnTo>
                    <a:pt x="26" y="0"/>
                  </a:ln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387">
              <a:extLst>
                <a:ext uri="{FF2B5EF4-FFF2-40B4-BE49-F238E27FC236}">
                  <a16:creationId xmlns:a16="http://schemas.microsoft.com/office/drawing/2014/main" id="{3B018D6C-9E47-B97C-DDBE-7F7A93B59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115" y="4518918"/>
              <a:ext cx="294949" cy="294949"/>
            </a:xfrm>
            <a:custGeom>
              <a:avLst/>
              <a:gdLst>
                <a:gd name="T0" fmla="*/ 16 w 140"/>
                <a:gd name="T1" fmla="*/ 70 h 140"/>
                <a:gd name="T2" fmla="*/ 0 w 140"/>
                <a:gd name="T3" fmla="*/ 70 h 140"/>
                <a:gd name="T4" fmla="*/ 70 w 140"/>
                <a:gd name="T5" fmla="*/ 140 h 140"/>
                <a:gd name="T6" fmla="*/ 140 w 140"/>
                <a:gd name="T7" fmla="*/ 70 h 140"/>
                <a:gd name="T8" fmla="*/ 70 w 140"/>
                <a:gd name="T9" fmla="*/ 0 h 140"/>
                <a:gd name="T10" fmla="*/ 0 w 140"/>
                <a:gd name="T11" fmla="*/ 70 h 140"/>
                <a:gd name="T12" fmla="*/ 16 w 140"/>
                <a:gd name="T13" fmla="*/ 70 h 140"/>
                <a:gd name="T14" fmla="*/ 33 w 140"/>
                <a:gd name="T15" fmla="*/ 70 h 140"/>
                <a:gd name="T16" fmla="*/ 70 w 140"/>
                <a:gd name="T17" fmla="*/ 33 h 140"/>
                <a:gd name="T18" fmla="*/ 106 w 140"/>
                <a:gd name="T19" fmla="*/ 70 h 140"/>
                <a:gd name="T20" fmla="*/ 70 w 140"/>
                <a:gd name="T21" fmla="*/ 106 h 140"/>
                <a:gd name="T22" fmla="*/ 33 w 140"/>
                <a:gd name="T23" fmla="*/ 70 h 140"/>
                <a:gd name="T24" fmla="*/ 16 w 140"/>
                <a:gd name="T25" fmla="*/ 7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0" h="140">
                  <a:moveTo>
                    <a:pt x="16" y="70"/>
                  </a:moveTo>
                  <a:lnTo>
                    <a:pt x="0" y="70"/>
                  </a:lnTo>
                  <a:cubicBezTo>
                    <a:pt x="0" y="108"/>
                    <a:pt x="31" y="140"/>
                    <a:pt x="70" y="140"/>
                  </a:cubicBezTo>
                  <a:cubicBezTo>
                    <a:pt x="108" y="140"/>
                    <a:pt x="140" y="108"/>
                    <a:pt x="140" y="70"/>
                  </a:cubicBezTo>
                  <a:cubicBezTo>
                    <a:pt x="140" y="31"/>
                    <a:pt x="108" y="0"/>
                    <a:pt x="70" y="0"/>
                  </a:cubicBezTo>
                  <a:cubicBezTo>
                    <a:pt x="31" y="0"/>
                    <a:pt x="0" y="31"/>
                    <a:pt x="0" y="70"/>
                  </a:cubicBezTo>
                  <a:lnTo>
                    <a:pt x="16" y="70"/>
                  </a:lnTo>
                  <a:lnTo>
                    <a:pt x="33" y="70"/>
                  </a:lnTo>
                  <a:cubicBezTo>
                    <a:pt x="33" y="49"/>
                    <a:pt x="49" y="33"/>
                    <a:pt x="70" y="33"/>
                  </a:cubicBezTo>
                  <a:cubicBezTo>
                    <a:pt x="90" y="33"/>
                    <a:pt x="106" y="49"/>
                    <a:pt x="106" y="70"/>
                  </a:cubicBezTo>
                  <a:cubicBezTo>
                    <a:pt x="106" y="90"/>
                    <a:pt x="90" y="106"/>
                    <a:pt x="70" y="106"/>
                  </a:cubicBezTo>
                  <a:cubicBezTo>
                    <a:pt x="49" y="106"/>
                    <a:pt x="33" y="90"/>
                    <a:pt x="33" y="70"/>
                  </a:cubicBezTo>
                  <a:lnTo>
                    <a:pt x="16" y="7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388">
              <a:extLst>
                <a:ext uri="{FF2B5EF4-FFF2-40B4-BE49-F238E27FC236}">
                  <a16:creationId xmlns:a16="http://schemas.microsoft.com/office/drawing/2014/main" id="{12CC3462-4D2F-9780-7732-82AD49E90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357" y="4764714"/>
              <a:ext cx="213024" cy="491582"/>
            </a:xfrm>
            <a:custGeom>
              <a:avLst/>
              <a:gdLst>
                <a:gd name="T0" fmla="*/ 0 w 103"/>
                <a:gd name="T1" fmla="*/ 0 h 235"/>
                <a:gd name="T2" fmla="*/ 34 w 103"/>
                <a:gd name="T3" fmla="*/ 42 h 235"/>
                <a:gd name="T4" fmla="*/ 48 w 103"/>
                <a:gd name="T5" fmla="*/ 45 h 235"/>
                <a:gd name="T6" fmla="*/ 69 w 103"/>
                <a:gd name="T7" fmla="*/ 72 h 235"/>
                <a:gd name="T8" fmla="*/ 69 w 103"/>
                <a:gd name="T9" fmla="*/ 174 h 235"/>
                <a:gd name="T10" fmla="*/ 42 w 103"/>
                <a:gd name="T11" fmla="*/ 202 h 235"/>
                <a:gd name="T12" fmla="*/ 42 w 103"/>
                <a:gd name="T13" fmla="*/ 235 h 235"/>
                <a:gd name="T14" fmla="*/ 103 w 103"/>
                <a:gd name="T15" fmla="*/ 174 h 235"/>
                <a:gd name="T16" fmla="*/ 103 w 103"/>
                <a:gd name="T17" fmla="*/ 72 h 235"/>
                <a:gd name="T18" fmla="*/ 55 w 103"/>
                <a:gd name="T19" fmla="*/ 13 h 235"/>
                <a:gd name="T20" fmla="*/ 41 w 103"/>
                <a:gd name="T21" fmla="*/ 10 h 235"/>
                <a:gd name="T22" fmla="*/ 33 w 103"/>
                <a:gd name="T23" fmla="*/ 0 h 235"/>
                <a:gd name="T24" fmla="*/ 0 w 103"/>
                <a:gd name="T25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235">
                  <a:moveTo>
                    <a:pt x="0" y="0"/>
                  </a:moveTo>
                  <a:cubicBezTo>
                    <a:pt x="0" y="20"/>
                    <a:pt x="14" y="38"/>
                    <a:pt x="34" y="42"/>
                  </a:cubicBezTo>
                  <a:lnTo>
                    <a:pt x="48" y="45"/>
                  </a:lnTo>
                  <a:cubicBezTo>
                    <a:pt x="61" y="48"/>
                    <a:pt x="69" y="59"/>
                    <a:pt x="69" y="72"/>
                  </a:cubicBezTo>
                  <a:lnTo>
                    <a:pt x="69" y="174"/>
                  </a:lnTo>
                  <a:cubicBezTo>
                    <a:pt x="69" y="189"/>
                    <a:pt x="57" y="202"/>
                    <a:pt x="42" y="202"/>
                  </a:cubicBezTo>
                  <a:lnTo>
                    <a:pt x="42" y="235"/>
                  </a:lnTo>
                  <a:cubicBezTo>
                    <a:pt x="75" y="235"/>
                    <a:pt x="103" y="208"/>
                    <a:pt x="103" y="174"/>
                  </a:cubicBezTo>
                  <a:lnTo>
                    <a:pt x="103" y="72"/>
                  </a:lnTo>
                  <a:cubicBezTo>
                    <a:pt x="103" y="44"/>
                    <a:pt x="83" y="19"/>
                    <a:pt x="55" y="13"/>
                  </a:cubicBezTo>
                  <a:lnTo>
                    <a:pt x="41" y="10"/>
                  </a:lnTo>
                  <a:cubicBezTo>
                    <a:pt x="36" y="9"/>
                    <a:pt x="33" y="5"/>
                    <a:pt x="33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389">
              <a:extLst>
                <a:ext uri="{FF2B5EF4-FFF2-40B4-BE49-F238E27FC236}">
                  <a16:creationId xmlns:a16="http://schemas.microsoft.com/office/drawing/2014/main" id="{452C468D-86AC-3C63-CD11-BAF329DDF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2799" y="4764714"/>
              <a:ext cx="213024" cy="491582"/>
            </a:xfrm>
            <a:custGeom>
              <a:avLst/>
              <a:gdLst>
                <a:gd name="T0" fmla="*/ 70 w 103"/>
                <a:gd name="T1" fmla="*/ 0 h 235"/>
                <a:gd name="T2" fmla="*/ 62 w 103"/>
                <a:gd name="T3" fmla="*/ 10 h 235"/>
                <a:gd name="T4" fmla="*/ 48 w 103"/>
                <a:gd name="T5" fmla="*/ 13 h 235"/>
                <a:gd name="T6" fmla="*/ 0 w 103"/>
                <a:gd name="T7" fmla="*/ 72 h 235"/>
                <a:gd name="T8" fmla="*/ 0 w 103"/>
                <a:gd name="T9" fmla="*/ 174 h 235"/>
                <a:gd name="T10" fmla="*/ 62 w 103"/>
                <a:gd name="T11" fmla="*/ 235 h 235"/>
                <a:gd name="T12" fmla="*/ 62 w 103"/>
                <a:gd name="T13" fmla="*/ 202 h 235"/>
                <a:gd name="T14" fmla="*/ 34 w 103"/>
                <a:gd name="T15" fmla="*/ 174 h 235"/>
                <a:gd name="T16" fmla="*/ 34 w 103"/>
                <a:gd name="T17" fmla="*/ 72 h 235"/>
                <a:gd name="T18" fmla="*/ 55 w 103"/>
                <a:gd name="T19" fmla="*/ 45 h 235"/>
                <a:gd name="T20" fmla="*/ 70 w 103"/>
                <a:gd name="T21" fmla="*/ 42 h 235"/>
                <a:gd name="T22" fmla="*/ 103 w 103"/>
                <a:gd name="T23" fmla="*/ 0 h 235"/>
                <a:gd name="T24" fmla="*/ 70 w 103"/>
                <a:gd name="T25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235">
                  <a:moveTo>
                    <a:pt x="70" y="0"/>
                  </a:moveTo>
                  <a:cubicBezTo>
                    <a:pt x="70" y="5"/>
                    <a:pt x="67" y="9"/>
                    <a:pt x="62" y="10"/>
                  </a:cubicBezTo>
                  <a:lnTo>
                    <a:pt x="48" y="13"/>
                  </a:lnTo>
                  <a:cubicBezTo>
                    <a:pt x="20" y="19"/>
                    <a:pt x="0" y="44"/>
                    <a:pt x="0" y="72"/>
                  </a:cubicBezTo>
                  <a:lnTo>
                    <a:pt x="0" y="174"/>
                  </a:lnTo>
                  <a:cubicBezTo>
                    <a:pt x="0" y="208"/>
                    <a:pt x="28" y="235"/>
                    <a:pt x="62" y="235"/>
                  </a:cubicBezTo>
                  <a:lnTo>
                    <a:pt x="62" y="202"/>
                  </a:lnTo>
                  <a:cubicBezTo>
                    <a:pt x="46" y="202"/>
                    <a:pt x="34" y="189"/>
                    <a:pt x="34" y="174"/>
                  </a:cubicBezTo>
                  <a:lnTo>
                    <a:pt x="34" y="72"/>
                  </a:lnTo>
                  <a:cubicBezTo>
                    <a:pt x="34" y="59"/>
                    <a:pt x="43" y="48"/>
                    <a:pt x="55" y="45"/>
                  </a:cubicBezTo>
                  <a:lnTo>
                    <a:pt x="70" y="42"/>
                  </a:lnTo>
                  <a:cubicBezTo>
                    <a:pt x="89" y="38"/>
                    <a:pt x="103" y="20"/>
                    <a:pt x="103" y="0"/>
                  </a:cubicBezTo>
                  <a:lnTo>
                    <a:pt x="70" y="0"/>
                  </a:ln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391">
              <a:extLst>
                <a:ext uri="{FF2B5EF4-FFF2-40B4-BE49-F238E27FC236}">
                  <a16:creationId xmlns:a16="http://schemas.microsoft.com/office/drawing/2014/main" id="{A866BAD1-0C15-C1DC-01E5-ABD4BFE31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5813" y="4895802"/>
              <a:ext cx="180252" cy="819303"/>
            </a:xfrm>
            <a:custGeom>
              <a:avLst/>
              <a:gdLst>
                <a:gd name="T0" fmla="*/ 54 w 87"/>
                <a:gd name="T1" fmla="*/ 0 h 387"/>
                <a:gd name="T2" fmla="*/ 54 w 87"/>
                <a:gd name="T3" fmla="*/ 343 h 387"/>
                <a:gd name="T4" fmla="*/ 44 w 87"/>
                <a:gd name="T5" fmla="*/ 354 h 387"/>
                <a:gd name="T6" fmla="*/ 33 w 87"/>
                <a:gd name="T7" fmla="*/ 343 h 387"/>
                <a:gd name="T8" fmla="*/ 33 w 87"/>
                <a:gd name="T9" fmla="*/ 160 h 387"/>
                <a:gd name="T10" fmla="*/ 0 w 87"/>
                <a:gd name="T11" fmla="*/ 160 h 387"/>
                <a:gd name="T12" fmla="*/ 0 w 87"/>
                <a:gd name="T13" fmla="*/ 343 h 387"/>
                <a:gd name="T14" fmla="*/ 44 w 87"/>
                <a:gd name="T15" fmla="*/ 387 h 387"/>
                <a:gd name="T16" fmla="*/ 87 w 87"/>
                <a:gd name="T17" fmla="*/ 343 h 387"/>
                <a:gd name="T18" fmla="*/ 87 w 87"/>
                <a:gd name="T19" fmla="*/ 133 h 387"/>
                <a:gd name="T20" fmla="*/ 87 w 87"/>
                <a:gd name="T21" fmla="*/ 0 h 387"/>
                <a:gd name="T22" fmla="*/ 54 w 87"/>
                <a:gd name="T23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387">
                  <a:moveTo>
                    <a:pt x="54" y="0"/>
                  </a:moveTo>
                  <a:lnTo>
                    <a:pt x="54" y="343"/>
                  </a:lnTo>
                  <a:cubicBezTo>
                    <a:pt x="54" y="349"/>
                    <a:pt x="49" y="354"/>
                    <a:pt x="44" y="354"/>
                  </a:cubicBezTo>
                  <a:cubicBezTo>
                    <a:pt x="38" y="354"/>
                    <a:pt x="33" y="349"/>
                    <a:pt x="33" y="343"/>
                  </a:cubicBezTo>
                  <a:lnTo>
                    <a:pt x="33" y="160"/>
                  </a:lnTo>
                  <a:lnTo>
                    <a:pt x="0" y="160"/>
                  </a:lnTo>
                  <a:lnTo>
                    <a:pt x="0" y="343"/>
                  </a:lnTo>
                  <a:cubicBezTo>
                    <a:pt x="0" y="367"/>
                    <a:pt x="20" y="387"/>
                    <a:pt x="44" y="387"/>
                  </a:cubicBezTo>
                  <a:cubicBezTo>
                    <a:pt x="68" y="387"/>
                    <a:pt x="87" y="367"/>
                    <a:pt x="87" y="343"/>
                  </a:cubicBezTo>
                  <a:lnTo>
                    <a:pt x="87" y="133"/>
                  </a:lnTo>
                  <a:lnTo>
                    <a:pt x="87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393">
              <a:extLst>
                <a:ext uri="{FF2B5EF4-FFF2-40B4-BE49-F238E27FC236}">
                  <a16:creationId xmlns:a16="http://schemas.microsoft.com/office/drawing/2014/main" id="{DA15011D-D963-570B-D762-D6A48AC2D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115" y="4895802"/>
              <a:ext cx="180252" cy="819303"/>
            </a:xfrm>
            <a:custGeom>
              <a:avLst/>
              <a:gdLst>
                <a:gd name="T0" fmla="*/ 0 w 87"/>
                <a:gd name="T1" fmla="*/ 0 h 387"/>
                <a:gd name="T2" fmla="*/ 0 w 87"/>
                <a:gd name="T3" fmla="*/ 343 h 387"/>
                <a:gd name="T4" fmla="*/ 44 w 87"/>
                <a:gd name="T5" fmla="*/ 387 h 387"/>
                <a:gd name="T6" fmla="*/ 87 w 87"/>
                <a:gd name="T7" fmla="*/ 343 h 387"/>
                <a:gd name="T8" fmla="*/ 87 w 87"/>
                <a:gd name="T9" fmla="*/ 160 h 387"/>
                <a:gd name="T10" fmla="*/ 54 w 87"/>
                <a:gd name="T11" fmla="*/ 160 h 387"/>
                <a:gd name="T12" fmla="*/ 54 w 87"/>
                <a:gd name="T13" fmla="*/ 343 h 387"/>
                <a:gd name="T14" fmla="*/ 44 w 87"/>
                <a:gd name="T15" fmla="*/ 354 h 387"/>
                <a:gd name="T16" fmla="*/ 33 w 87"/>
                <a:gd name="T17" fmla="*/ 343 h 387"/>
                <a:gd name="T18" fmla="*/ 33 w 87"/>
                <a:gd name="T19" fmla="*/ 133 h 387"/>
                <a:gd name="T20" fmla="*/ 33 w 87"/>
                <a:gd name="T21" fmla="*/ 0 h 387"/>
                <a:gd name="T22" fmla="*/ 0 w 87"/>
                <a:gd name="T23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387">
                  <a:moveTo>
                    <a:pt x="0" y="0"/>
                  </a:moveTo>
                  <a:lnTo>
                    <a:pt x="0" y="343"/>
                  </a:lnTo>
                  <a:cubicBezTo>
                    <a:pt x="0" y="367"/>
                    <a:pt x="19" y="387"/>
                    <a:pt x="44" y="387"/>
                  </a:cubicBezTo>
                  <a:cubicBezTo>
                    <a:pt x="68" y="387"/>
                    <a:pt x="87" y="367"/>
                    <a:pt x="87" y="343"/>
                  </a:cubicBezTo>
                  <a:lnTo>
                    <a:pt x="87" y="160"/>
                  </a:lnTo>
                  <a:lnTo>
                    <a:pt x="54" y="160"/>
                  </a:lnTo>
                  <a:lnTo>
                    <a:pt x="54" y="343"/>
                  </a:lnTo>
                  <a:cubicBezTo>
                    <a:pt x="54" y="349"/>
                    <a:pt x="49" y="354"/>
                    <a:pt x="44" y="354"/>
                  </a:cubicBezTo>
                  <a:cubicBezTo>
                    <a:pt x="38" y="354"/>
                    <a:pt x="33" y="349"/>
                    <a:pt x="33" y="343"/>
                  </a:cubicBezTo>
                  <a:lnTo>
                    <a:pt x="33" y="133"/>
                  </a:lnTo>
                  <a:lnTo>
                    <a:pt x="3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Rectangle 394">
              <a:extLst>
                <a:ext uri="{FF2B5EF4-FFF2-40B4-BE49-F238E27FC236}">
                  <a16:creationId xmlns:a16="http://schemas.microsoft.com/office/drawing/2014/main" id="{5ABE6EBA-567F-B1DB-B5C1-B557F90D01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7356" y="4273132"/>
              <a:ext cx="65544" cy="589898"/>
            </a:xfrm>
            <a:prstGeom prst="rect">
              <a:avLst/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3" name="Watching_present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240335F-88B2-6224-80F6-EE4AAF8C656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301339" y="4081545"/>
            <a:ext cx="709226" cy="493416"/>
            <a:chOff x="5293" y="4073359"/>
            <a:chExt cx="1218873" cy="847984"/>
          </a:xfrm>
          <a:solidFill>
            <a:schemeClr val="bg1"/>
          </a:solidFill>
        </p:grpSpPr>
        <p:grpSp>
          <p:nvGrpSpPr>
            <p:cNvPr id="94" name="Watching_presentation">
              <a:extLst>
                <a:ext uri="{FF2B5EF4-FFF2-40B4-BE49-F238E27FC236}">
                  <a16:creationId xmlns:a16="http://schemas.microsoft.com/office/drawing/2014/main" id="{56ED7012-BAB8-EA7E-527C-98368600C55D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348" y="4073359"/>
              <a:ext cx="1148818" cy="847984"/>
              <a:chOff x="3077641" y="157840"/>
              <a:chExt cx="1148818" cy="847984"/>
            </a:xfrm>
            <a:grpFill/>
          </p:grpSpPr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3DCEE048-B2C9-1F2B-9D0B-17A4AE2DF1B5}"/>
                  </a:ext>
                </a:extLst>
              </p:cNvPr>
              <p:cNvGrpSpPr/>
              <p:nvPr/>
            </p:nvGrpSpPr>
            <p:grpSpPr>
              <a:xfrm>
                <a:off x="3077641" y="740979"/>
                <a:ext cx="1148818" cy="264845"/>
                <a:chOff x="2987824" y="2283718"/>
                <a:chExt cx="2979737" cy="686941"/>
              </a:xfrm>
              <a:grpFill/>
            </p:grpSpPr>
            <p:sp>
              <p:nvSpPr>
                <p:cNvPr id="100" name="Contact3">
                  <a:extLst>
                    <a:ext uri="{FF2B5EF4-FFF2-40B4-BE49-F238E27FC236}">
                      <a16:creationId xmlns:a16="http://schemas.microsoft.com/office/drawing/2014/main" id="{F25E4D5E-B9AC-B8D3-C06F-0677CAF3805A}"/>
                    </a:ext>
                  </a:extLst>
                </p:cNvPr>
                <p:cNvSpPr>
                  <a:spLocks noChangeAspect="1" noChangeArrowheads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2987824" y="2427734"/>
                  <a:ext cx="542925" cy="542925"/>
                </a:xfrm>
                <a:custGeom>
                  <a:avLst/>
                  <a:gdLst>
                    <a:gd name="T0" fmla="*/ 216 w 433"/>
                    <a:gd name="T1" fmla="*/ 216 h 433"/>
                    <a:gd name="T2" fmla="*/ 324 w 433"/>
                    <a:gd name="T3" fmla="*/ 108 h 433"/>
                    <a:gd name="T4" fmla="*/ 216 w 433"/>
                    <a:gd name="T5" fmla="*/ 0 h 433"/>
                    <a:gd name="T6" fmla="*/ 108 w 433"/>
                    <a:gd name="T7" fmla="*/ 108 h 433"/>
                    <a:gd name="T8" fmla="*/ 216 w 433"/>
                    <a:gd name="T9" fmla="*/ 216 h 433"/>
                    <a:gd name="T10" fmla="*/ 216 w 433"/>
                    <a:gd name="T11" fmla="*/ 267 h 433"/>
                    <a:gd name="T12" fmla="*/ 0 w 433"/>
                    <a:gd name="T13" fmla="*/ 375 h 433"/>
                    <a:gd name="T14" fmla="*/ 0 w 433"/>
                    <a:gd name="T15" fmla="*/ 432 h 433"/>
                    <a:gd name="T16" fmla="*/ 432 w 433"/>
                    <a:gd name="T17" fmla="*/ 432 h 433"/>
                    <a:gd name="T18" fmla="*/ 432 w 433"/>
                    <a:gd name="T19" fmla="*/ 375 h 433"/>
                    <a:gd name="T20" fmla="*/ 216 w 433"/>
                    <a:gd name="T21" fmla="*/ 267 h 4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33" h="433">
                      <a:moveTo>
                        <a:pt x="216" y="216"/>
                      </a:moveTo>
                      <a:cubicBezTo>
                        <a:pt x="272" y="216"/>
                        <a:pt x="324" y="167"/>
                        <a:pt x="324" y="108"/>
                      </a:cubicBezTo>
                      <a:cubicBezTo>
                        <a:pt x="324" y="49"/>
                        <a:pt x="275" y="0"/>
                        <a:pt x="216" y="0"/>
                      </a:cubicBezTo>
                      <a:cubicBezTo>
                        <a:pt x="157" y="0"/>
                        <a:pt x="108" y="49"/>
                        <a:pt x="108" y="108"/>
                      </a:cubicBezTo>
                      <a:cubicBezTo>
                        <a:pt x="108" y="167"/>
                        <a:pt x="154" y="216"/>
                        <a:pt x="216" y="216"/>
                      </a:cubicBezTo>
                      <a:close/>
                      <a:moveTo>
                        <a:pt x="216" y="267"/>
                      </a:moveTo>
                      <a:cubicBezTo>
                        <a:pt x="144" y="267"/>
                        <a:pt x="0" y="303"/>
                        <a:pt x="0" y="375"/>
                      </a:cubicBezTo>
                      <a:lnTo>
                        <a:pt x="0" y="432"/>
                      </a:lnTo>
                      <a:lnTo>
                        <a:pt x="432" y="432"/>
                      </a:lnTo>
                      <a:lnTo>
                        <a:pt x="432" y="375"/>
                      </a:lnTo>
                      <a:cubicBezTo>
                        <a:pt x="432" y="303"/>
                        <a:pt x="288" y="267"/>
                        <a:pt x="216" y="267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>
                      <a:lumMod val="95000"/>
                    </a:schemeClr>
                  </a:solidFill>
                </a:ln>
                <a:effectLst/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Contact3">
                  <a:extLst>
                    <a:ext uri="{FF2B5EF4-FFF2-40B4-BE49-F238E27FC236}">
                      <a16:creationId xmlns:a16="http://schemas.microsoft.com/office/drawing/2014/main" id="{75D59A78-B671-7577-F1D8-4A6988CB2353}"/>
                    </a:ext>
                  </a:extLst>
                </p:cNvPr>
                <p:cNvSpPr>
                  <a:spLocks noChangeAspect="1" noChangeArrowheads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3597027" y="2427734"/>
                  <a:ext cx="542925" cy="542925"/>
                </a:xfrm>
                <a:custGeom>
                  <a:avLst/>
                  <a:gdLst>
                    <a:gd name="T0" fmla="*/ 216 w 433"/>
                    <a:gd name="T1" fmla="*/ 216 h 433"/>
                    <a:gd name="T2" fmla="*/ 324 w 433"/>
                    <a:gd name="T3" fmla="*/ 108 h 433"/>
                    <a:gd name="T4" fmla="*/ 216 w 433"/>
                    <a:gd name="T5" fmla="*/ 0 h 433"/>
                    <a:gd name="T6" fmla="*/ 108 w 433"/>
                    <a:gd name="T7" fmla="*/ 108 h 433"/>
                    <a:gd name="T8" fmla="*/ 216 w 433"/>
                    <a:gd name="T9" fmla="*/ 216 h 433"/>
                    <a:gd name="T10" fmla="*/ 216 w 433"/>
                    <a:gd name="T11" fmla="*/ 267 h 433"/>
                    <a:gd name="T12" fmla="*/ 0 w 433"/>
                    <a:gd name="T13" fmla="*/ 375 h 433"/>
                    <a:gd name="T14" fmla="*/ 0 w 433"/>
                    <a:gd name="T15" fmla="*/ 432 h 433"/>
                    <a:gd name="T16" fmla="*/ 432 w 433"/>
                    <a:gd name="T17" fmla="*/ 432 h 433"/>
                    <a:gd name="T18" fmla="*/ 432 w 433"/>
                    <a:gd name="T19" fmla="*/ 375 h 433"/>
                    <a:gd name="T20" fmla="*/ 216 w 433"/>
                    <a:gd name="T21" fmla="*/ 267 h 4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33" h="433">
                      <a:moveTo>
                        <a:pt x="216" y="216"/>
                      </a:moveTo>
                      <a:cubicBezTo>
                        <a:pt x="272" y="216"/>
                        <a:pt x="324" y="167"/>
                        <a:pt x="324" y="108"/>
                      </a:cubicBezTo>
                      <a:cubicBezTo>
                        <a:pt x="324" y="49"/>
                        <a:pt x="275" y="0"/>
                        <a:pt x="216" y="0"/>
                      </a:cubicBezTo>
                      <a:cubicBezTo>
                        <a:pt x="157" y="0"/>
                        <a:pt x="108" y="49"/>
                        <a:pt x="108" y="108"/>
                      </a:cubicBezTo>
                      <a:cubicBezTo>
                        <a:pt x="108" y="167"/>
                        <a:pt x="154" y="216"/>
                        <a:pt x="216" y="216"/>
                      </a:cubicBezTo>
                      <a:close/>
                      <a:moveTo>
                        <a:pt x="216" y="267"/>
                      </a:moveTo>
                      <a:cubicBezTo>
                        <a:pt x="144" y="267"/>
                        <a:pt x="0" y="303"/>
                        <a:pt x="0" y="375"/>
                      </a:cubicBezTo>
                      <a:lnTo>
                        <a:pt x="0" y="432"/>
                      </a:lnTo>
                      <a:lnTo>
                        <a:pt x="432" y="432"/>
                      </a:lnTo>
                      <a:lnTo>
                        <a:pt x="432" y="375"/>
                      </a:lnTo>
                      <a:cubicBezTo>
                        <a:pt x="432" y="303"/>
                        <a:pt x="288" y="267"/>
                        <a:pt x="216" y="267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>
                      <a:lumMod val="95000"/>
                    </a:schemeClr>
                  </a:solidFill>
                </a:ln>
                <a:effectLst/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Contact3">
                  <a:extLst>
                    <a:ext uri="{FF2B5EF4-FFF2-40B4-BE49-F238E27FC236}">
                      <a16:creationId xmlns:a16="http://schemas.microsoft.com/office/drawing/2014/main" id="{2B685036-7F84-4DDA-66B2-486FB9C35AFB}"/>
                    </a:ext>
                  </a:extLst>
                </p:cNvPr>
                <p:cNvSpPr>
                  <a:spLocks noChangeAspect="1" noChangeArrowheads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4206230" y="2427734"/>
                  <a:ext cx="542925" cy="542925"/>
                </a:xfrm>
                <a:custGeom>
                  <a:avLst/>
                  <a:gdLst>
                    <a:gd name="T0" fmla="*/ 216 w 433"/>
                    <a:gd name="T1" fmla="*/ 216 h 433"/>
                    <a:gd name="T2" fmla="*/ 324 w 433"/>
                    <a:gd name="T3" fmla="*/ 108 h 433"/>
                    <a:gd name="T4" fmla="*/ 216 w 433"/>
                    <a:gd name="T5" fmla="*/ 0 h 433"/>
                    <a:gd name="T6" fmla="*/ 108 w 433"/>
                    <a:gd name="T7" fmla="*/ 108 h 433"/>
                    <a:gd name="T8" fmla="*/ 216 w 433"/>
                    <a:gd name="T9" fmla="*/ 216 h 433"/>
                    <a:gd name="T10" fmla="*/ 216 w 433"/>
                    <a:gd name="T11" fmla="*/ 267 h 433"/>
                    <a:gd name="T12" fmla="*/ 0 w 433"/>
                    <a:gd name="T13" fmla="*/ 375 h 433"/>
                    <a:gd name="T14" fmla="*/ 0 w 433"/>
                    <a:gd name="T15" fmla="*/ 432 h 433"/>
                    <a:gd name="T16" fmla="*/ 432 w 433"/>
                    <a:gd name="T17" fmla="*/ 432 h 433"/>
                    <a:gd name="T18" fmla="*/ 432 w 433"/>
                    <a:gd name="T19" fmla="*/ 375 h 433"/>
                    <a:gd name="T20" fmla="*/ 216 w 433"/>
                    <a:gd name="T21" fmla="*/ 267 h 4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33" h="433">
                      <a:moveTo>
                        <a:pt x="216" y="216"/>
                      </a:moveTo>
                      <a:cubicBezTo>
                        <a:pt x="272" y="216"/>
                        <a:pt x="324" y="167"/>
                        <a:pt x="324" y="108"/>
                      </a:cubicBezTo>
                      <a:cubicBezTo>
                        <a:pt x="324" y="49"/>
                        <a:pt x="275" y="0"/>
                        <a:pt x="216" y="0"/>
                      </a:cubicBezTo>
                      <a:cubicBezTo>
                        <a:pt x="157" y="0"/>
                        <a:pt x="108" y="49"/>
                        <a:pt x="108" y="108"/>
                      </a:cubicBezTo>
                      <a:cubicBezTo>
                        <a:pt x="108" y="167"/>
                        <a:pt x="154" y="216"/>
                        <a:pt x="216" y="216"/>
                      </a:cubicBezTo>
                      <a:close/>
                      <a:moveTo>
                        <a:pt x="216" y="267"/>
                      </a:moveTo>
                      <a:cubicBezTo>
                        <a:pt x="144" y="267"/>
                        <a:pt x="0" y="303"/>
                        <a:pt x="0" y="375"/>
                      </a:cubicBezTo>
                      <a:lnTo>
                        <a:pt x="0" y="432"/>
                      </a:lnTo>
                      <a:lnTo>
                        <a:pt x="432" y="432"/>
                      </a:lnTo>
                      <a:lnTo>
                        <a:pt x="432" y="375"/>
                      </a:lnTo>
                      <a:cubicBezTo>
                        <a:pt x="432" y="303"/>
                        <a:pt x="288" y="267"/>
                        <a:pt x="216" y="267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>
                      <a:lumMod val="95000"/>
                    </a:schemeClr>
                  </a:solidFill>
                </a:ln>
                <a:effectLst/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Contact3">
                  <a:extLst>
                    <a:ext uri="{FF2B5EF4-FFF2-40B4-BE49-F238E27FC236}">
                      <a16:creationId xmlns:a16="http://schemas.microsoft.com/office/drawing/2014/main" id="{C2ABB9DB-38ED-C60C-3B88-856FC017441C}"/>
                    </a:ext>
                  </a:extLst>
                </p:cNvPr>
                <p:cNvSpPr>
                  <a:spLocks noChangeAspect="1" noChangeArrowheads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4815433" y="2427734"/>
                  <a:ext cx="542925" cy="542925"/>
                </a:xfrm>
                <a:custGeom>
                  <a:avLst/>
                  <a:gdLst>
                    <a:gd name="T0" fmla="*/ 216 w 433"/>
                    <a:gd name="T1" fmla="*/ 216 h 433"/>
                    <a:gd name="T2" fmla="*/ 324 w 433"/>
                    <a:gd name="T3" fmla="*/ 108 h 433"/>
                    <a:gd name="T4" fmla="*/ 216 w 433"/>
                    <a:gd name="T5" fmla="*/ 0 h 433"/>
                    <a:gd name="T6" fmla="*/ 108 w 433"/>
                    <a:gd name="T7" fmla="*/ 108 h 433"/>
                    <a:gd name="T8" fmla="*/ 216 w 433"/>
                    <a:gd name="T9" fmla="*/ 216 h 433"/>
                    <a:gd name="T10" fmla="*/ 216 w 433"/>
                    <a:gd name="T11" fmla="*/ 267 h 433"/>
                    <a:gd name="T12" fmla="*/ 0 w 433"/>
                    <a:gd name="T13" fmla="*/ 375 h 433"/>
                    <a:gd name="T14" fmla="*/ 0 w 433"/>
                    <a:gd name="T15" fmla="*/ 432 h 433"/>
                    <a:gd name="T16" fmla="*/ 432 w 433"/>
                    <a:gd name="T17" fmla="*/ 432 h 433"/>
                    <a:gd name="T18" fmla="*/ 432 w 433"/>
                    <a:gd name="T19" fmla="*/ 375 h 433"/>
                    <a:gd name="T20" fmla="*/ 216 w 433"/>
                    <a:gd name="T21" fmla="*/ 267 h 4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33" h="433">
                      <a:moveTo>
                        <a:pt x="216" y="216"/>
                      </a:moveTo>
                      <a:cubicBezTo>
                        <a:pt x="272" y="216"/>
                        <a:pt x="324" y="167"/>
                        <a:pt x="324" y="108"/>
                      </a:cubicBezTo>
                      <a:cubicBezTo>
                        <a:pt x="324" y="49"/>
                        <a:pt x="275" y="0"/>
                        <a:pt x="216" y="0"/>
                      </a:cubicBezTo>
                      <a:cubicBezTo>
                        <a:pt x="157" y="0"/>
                        <a:pt x="108" y="49"/>
                        <a:pt x="108" y="108"/>
                      </a:cubicBezTo>
                      <a:cubicBezTo>
                        <a:pt x="108" y="167"/>
                        <a:pt x="154" y="216"/>
                        <a:pt x="216" y="216"/>
                      </a:cubicBezTo>
                      <a:close/>
                      <a:moveTo>
                        <a:pt x="216" y="267"/>
                      </a:moveTo>
                      <a:cubicBezTo>
                        <a:pt x="144" y="267"/>
                        <a:pt x="0" y="303"/>
                        <a:pt x="0" y="375"/>
                      </a:cubicBezTo>
                      <a:lnTo>
                        <a:pt x="0" y="432"/>
                      </a:lnTo>
                      <a:lnTo>
                        <a:pt x="432" y="432"/>
                      </a:lnTo>
                      <a:lnTo>
                        <a:pt x="432" y="375"/>
                      </a:lnTo>
                      <a:cubicBezTo>
                        <a:pt x="432" y="303"/>
                        <a:pt x="288" y="267"/>
                        <a:pt x="216" y="267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>
                      <a:lumMod val="95000"/>
                    </a:schemeClr>
                  </a:solidFill>
                </a:ln>
                <a:effectLst/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Contact3">
                  <a:extLst>
                    <a:ext uri="{FF2B5EF4-FFF2-40B4-BE49-F238E27FC236}">
                      <a16:creationId xmlns:a16="http://schemas.microsoft.com/office/drawing/2014/main" id="{034E6067-DC1B-70BB-6FE8-36A13289D279}"/>
                    </a:ext>
                  </a:extLst>
                </p:cNvPr>
                <p:cNvSpPr>
                  <a:spLocks noChangeAspect="1" noChangeArrowheads="1"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5424636" y="2427734"/>
                  <a:ext cx="542925" cy="542925"/>
                </a:xfrm>
                <a:custGeom>
                  <a:avLst/>
                  <a:gdLst>
                    <a:gd name="T0" fmla="*/ 216 w 433"/>
                    <a:gd name="T1" fmla="*/ 216 h 433"/>
                    <a:gd name="T2" fmla="*/ 324 w 433"/>
                    <a:gd name="T3" fmla="*/ 108 h 433"/>
                    <a:gd name="T4" fmla="*/ 216 w 433"/>
                    <a:gd name="T5" fmla="*/ 0 h 433"/>
                    <a:gd name="T6" fmla="*/ 108 w 433"/>
                    <a:gd name="T7" fmla="*/ 108 h 433"/>
                    <a:gd name="T8" fmla="*/ 216 w 433"/>
                    <a:gd name="T9" fmla="*/ 216 h 433"/>
                    <a:gd name="T10" fmla="*/ 216 w 433"/>
                    <a:gd name="T11" fmla="*/ 267 h 433"/>
                    <a:gd name="T12" fmla="*/ 0 w 433"/>
                    <a:gd name="T13" fmla="*/ 375 h 433"/>
                    <a:gd name="T14" fmla="*/ 0 w 433"/>
                    <a:gd name="T15" fmla="*/ 432 h 433"/>
                    <a:gd name="T16" fmla="*/ 432 w 433"/>
                    <a:gd name="T17" fmla="*/ 432 h 433"/>
                    <a:gd name="T18" fmla="*/ 432 w 433"/>
                    <a:gd name="T19" fmla="*/ 375 h 433"/>
                    <a:gd name="T20" fmla="*/ 216 w 433"/>
                    <a:gd name="T21" fmla="*/ 267 h 4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33" h="433">
                      <a:moveTo>
                        <a:pt x="216" y="216"/>
                      </a:moveTo>
                      <a:cubicBezTo>
                        <a:pt x="272" y="216"/>
                        <a:pt x="324" y="167"/>
                        <a:pt x="324" y="108"/>
                      </a:cubicBezTo>
                      <a:cubicBezTo>
                        <a:pt x="324" y="49"/>
                        <a:pt x="275" y="0"/>
                        <a:pt x="216" y="0"/>
                      </a:cubicBezTo>
                      <a:cubicBezTo>
                        <a:pt x="157" y="0"/>
                        <a:pt x="108" y="49"/>
                        <a:pt x="108" y="108"/>
                      </a:cubicBezTo>
                      <a:cubicBezTo>
                        <a:pt x="108" y="167"/>
                        <a:pt x="154" y="216"/>
                        <a:pt x="216" y="216"/>
                      </a:cubicBezTo>
                      <a:close/>
                      <a:moveTo>
                        <a:pt x="216" y="267"/>
                      </a:moveTo>
                      <a:cubicBezTo>
                        <a:pt x="144" y="267"/>
                        <a:pt x="0" y="303"/>
                        <a:pt x="0" y="375"/>
                      </a:cubicBezTo>
                      <a:lnTo>
                        <a:pt x="0" y="432"/>
                      </a:lnTo>
                      <a:lnTo>
                        <a:pt x="432" y="432"/>
                      </a:lnTo>
                      <a:lnTo>
                        <a:pt x="432" y="375"/>
                      </a:lnTo>
                      <a:cubicBezTo>
                        <a:pt x="432" y="303"/>
                        <a:pt x="288" y="267"/>
                        <a:pt x="216" y="267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>
                      <a:lumMod val="95000"/>
                    </a:schemeClr>
                  </a:solidFill>
                </a:ln>
                <a:effectLst/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Oval 104">
                  <a:extLst>
                    <a:ext uri="{FF2B5EF4-FFF2-40B4-BE49-F238E27FC236}">
                      <a16:creationId xmlns:a16="http://schemas.microsoft.com/office/drawing/2014/main" id="{5307032F-1104-E0EF-325B-F52F1CD7F9E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419872" y="2283718"/>
                  <a:ext cx="264869" cy="264869"/>
                </a:xfrm>
                <a:prstGeom prst="ellipse">
                  <a:avLst/>
                </a:prstGeom>
                <a:grpFill/>
                <a:ln w="1905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Oval 105">
                  <a:extLst>
                    <a:ext uri="{FF2B5EF4-FFF2-40B4-BE49-F238E27FC236}">
                      <a16:creationId xmlns:a16="http://schemas.microsoft.com/office/drawing/2014/main" id="{9A81CB8A-BFD8-E017-8E14-73255F3C1AF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036452" y="2283718"/>
                  <a:ext cx="264869" cy="264869"/>
                </a:xfrm>
                <a:prstGeom prst="ellipse">
                  <a:avLst/>
                </a:prstGeom>
                <a:grpFill/>
                <a:ln w="1905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Oval 106">
                  <a:extLst>
                    <a:ext uri="{FF2B5EF4-FFF2-40B4-BE49-F238E27FC236}">
                      <a16:creationId xmlns:a16="http://schemas.microsoft.com/office/drawing/2014/main" id="{B7AB0144-AFA8-0251-E433-97DAF151A3B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653032" y="2283718"/>
                  <a:ext cx="264869" cy="264869"/>
                </a:xfrm>
                <a:prstGeom prst="ellipse">
                  <a:avLst/>
                </a:prstGeom>
                <a:grpFill/>
                <a:ln w="1905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Oval 107">
                  <a:extLst>
                    <a:ext uri="{FF2B5EF4-FFF2-40B4-BE49-F238E27FC236}">
                      <a16:creationId xmlns:a16="http://schemas.microsoft.com/office/drawing/2014/main" id="{867F4E5E-D536-6744-F956-8E902E4E109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69611" y="2283718"/>
                  <a:ext cx="264869" cy="264869"/>
                </a:xfrm>
                <a:prstGeom prst="ellipse">
                  <a:avLst/>
                </a:prstGeom>
                <a:grpFill/>
                <a:ln w="1905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99" name="Bluetooth">
                <a:extLst>
                  <a:ext uri="{FF2B5EF4-FFF2-40B4-BE49-F238E27FC236}">
                    <a16:creationId xmlns:a16="http://schemas.microsoft.com/office/drawing/2014/main" id="{6DACD3C8-0865-E98E-990A-B46262D12F5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277337" y="157840"/>
                <a:ext cx="749427" cy="493568"/>
              </a:xfrm>
              <a:custGeom>
                <a:avLst/>
                <a:gdLst>
                  <a:gd name="T0" fmla="*/ 515 w 575"/>
                  <a:gd name="T1" fmla="*/ 575 h 575"/>
                  <a:gd name="T2" fmla="*/ 60 w 575"/>
                  <a:gd name="T3" fmla="*/ 575 h 575"/>
                  <a:gd name="T4" fmla="*/ 0 w 575"/>
                  <a:gd name="T5" fmla="*/ 515 h 575"/>
                  <a:gd name="T6" fmla="*/ 0 w 575"/>
                  <a:gd name="T7" fmla="*/ 60 h 575"/>
                  <a:gd name="T8" fmla="*/ 60 w 575"/>
                  <a:gd name="T9" fmla="*/ 0 h 575"/>
                  <a:gd name="T10" fmla="*/ 513 w 575"/>
                  <a:gd name="T11" fmla="*/ 0 h 575"/>
                  <a:gd name="T12" fmla="*/ 575 w 575"/>
                  <a:gd name="T13" fmla="*/ 60 h 575"/>
                  <a:gd name="T14" fmla="*/ 575 w 575"/>
                  <a:gd name="T15" fmla="*/ 513 h 575"/>
                  <a:gd name="T16" fmla="*/ 515 w 575"/>
                  <a:gd name="T17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5" h="575">
                    <a:moveTo>
                      <a:pt x="515" y="575"/>
                    </a:moveTo>
                    <a:lnTo>
                      <a:pt x="60" y="575"/>
                    </a:lnTo>
                    <a:cubicBezTo>
                      <a:pt x="27" y="575"/>
                      <a:pt x="0" y="547"/>
                      <a:pt x="0" y="515"/>
                    </a:cubicBezTo>
                    <a:lnTo>
                      <a:pt x="0" y="60"/>
                    </a:lnTo>
                    <a:cubicBezTo>
                      <a:pt x="0" y="27"/>
                      <a:pt x="27" y="0"/>
                      <a:pt x="60" y="0"/>
                    </a:cubicBezTo>
                    <a:lnTo>
                      <a:pt x="513" y="0"/>
                    </a:lnTo>
                    <a:cubicBezTo>
                      <a:pt x="547" y="0"/>
                      <a:pt x="575" y="27"/>
                      <a:pt x="575" y="60"/>
                    </a:cubicBezTo>
                    <a:lnTo>
                      <a:pt x="575" y="513"/>
                    </a:lnTo>
                    <a:cubicBezTo>
                      <a:pt x="575" y="547"/>
                      <a:pt x="547" y="575"/>
                      <a:pt x="515" y="575"/>
                    </a:cubicBezTo>
                    <a:close/>
                  </a:path>
                </a:pathLst>
              </a:custGeom>
              <a:grpFill/>
              <a:ln w="19050" cap="flat">
                <a:solidFill>
                  <a:schemeClr val="bg1">
                    <a:lumMod val="9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95" name="Education">
              <a:extLst>
                <a:ext uri="{FF2B5EF4-FFF2-40B4-BE49-F238E27FC236}">
                  <a16:creationId xmlns:a16="http://schemas.microsoft.com/office/drawing/2014/main" id="{6CFC5A68-F9A6-E1C4-22BD-4777B3E987FD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5293" y="4137119"/>
              <a:ext cx="355089" cy="540352"/>
              <a:chOff x="57" y="34"/>
              <a:chExt cx="276" cy="420"/>
            </a:xfrm>
            <a:grpFill/>
          </p:grpSpPr>
          <p:sp>
            <p:nvSpPr>
              <p:cNvPr id="96" name="Education">
                <a:extLst>
                  <a:ext uri="{FF2B5EF4-FFF2-40B4-BE49-F238E27FC236}">
                    <a16:creationId xmlns:a16="http://schemas.microsoft.com/office/drawing/2014/main" id="{1EE47E1B-51A6-A801-C041-14AD7F5B2D4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27" y="34"/>
                <a:ext cx="82" cy="82"/>
              </a:xfrm>
              <a:prstGeom prst="ellipse">
                <a:avLst/>
              </a:prstGeom>
              <a:grpFill/>
              <a:ln w="19050">
                <a:solidFill>
                  <a:schemeClr val="bg1">
                    <a:lumMod val="9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Education">
                <a:extLst>
                  <a:ext uri="{FF2B5EF4-FFF2-40B4-BE49-F238E27FC236}">
                    <a16:creationId xmlns:a16="http://schemas.microsoft.com/office/drawing/2014/main" id="{B1088B4B-CD60-41DC-EE51-5B3209E94338}"/>
                  </a:ext>
                </a:extLst>
              </p:cNvPr>
              <p:cNvSpPr>
                <a:spLocks noEditPoint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7" y="130"/>
                <a:ext cx="276" cy="324"/>
              </a:xfrm>
              <a:custGeom>
                <a:avLst/>
                <a:gdLst>
                  <a:gd name="T0" fmla="*/ 719 w 734"/>
                  <a:gd name="T1" fmla="*/ 23 h 862"/>
                  <a:gd name="T2" fmla="*/ 665 w 734"/>
                  <a:gd name="T3" fmla="*/ 23 h 862"/>
                  <a:gd name="T4" fmla="*/ 552 w 734"/>
                  <a:gd name="T5" fmla="*/ 137 h 862"/>
                  <a:gd name="T6" fmla="*/ 399 w 734"/>
                  <a:gd name="T7" fmla="*/ 2 h 862"/>
                  <a:gd name="T8" fmla="*/ 187 w 734"/>
                  <a:gd name="T9" fmla="*/ 2 h 862"/>
                  <a:gd name="T10" fmla="*/ 132 w 734"/>
                  <a:gd name="T11" fmla="*/ 18 h 862"/>
                  <a:gd name="T12" fmla="*/ 11 w 734"/>
                  <a:gd name="T13" fmla="*/ 178 h 862"/>
                  <a:gd name="T14" fmla="*/ 11 w 734"/>
                  <a:gd name="T15" fmla="*/ 226 h 862"/>
                  <a:gd name="T16" fmla="*/ 121 w 734"/>
                  <a:gd name="T17" fmla="*/ 380 h 862"/>
                  <a:gd name="T18" fmla="*/ 145 w 734"/>
                  <a:gd name="T19" fmla="*/ 396 h 862"/>
                  <a:gd name="T20" fmla="*/ 145 w 734"/>
                  <a:gd name="T21" fmla="*/ 812 h 862"/>
                  <a:gd name="T22" fmla="*/ 195 w 734"/>
                  <a:gd name="T23" fmla="*/ 862 h 862"/>
                  <a:gd name="T24" fmla="*/ 245 w 734"/>
                  <a:gd name="T25" fmla="*/ 812 h 862"/>
                  <a:gd name="T26" fmla="*/ 245 w 734"/>
                  <a:gd name="T27" fmla="*/ 452 h 862"/>
                  <a:gd name="T28" fmla="*/ 333 w 734"/>
                  <a:gd name="T29" fmla="*/ 452 h 862"/>
                  <a:gd name="T30" fmla="*/ 333 w 734"/>
                  <a:gd name="T31" fmla="*/ 812 h 862"/>
                  <a:gd name="T32" fmla="*/ 383 w 734"/>
                  <a:gd name="T33" fmla="*/ 862 h 862"/>
                  <a:gd name="T34" fmla="*/ 433 w 734"/>
                  <a:gd name="T35" fmla="*/ 812 h 862"/>
                  <a:gd name="T36" fmla="*/ 433 w 734"/>
                  <a:gd name="T37" fmla="*/ 131 h 862"/>
                  <a:gd name="T38" fmla="*/ 522 w 734"/>
                  <a:gd name="T39" fmla="*/ 218 h 862"/>
                  <a:gd name="T40" fmla="*/ 550 w 734"/>
                  <a:gd name="T41" fmla="*/ 229 h 862"/>
                  <a:gd name="T42" fmla="*/ 578 w 734"/>
                  <a:gd name="T43" fmla="*/ 218 h 862"/>
                  <a:gd name="T44" fmla="*/ 719 w 734"/>
                  <a:gd name="T45" fmla="*/ 77 h 862"/>
                  <a:gd name="T46" fmla="*/ 719 w 734"/>
                  <a:gd name="T47" fmla="*/ 23 h 862"/>
                  <a:gd name="T48" fmla="*/ 83 w 734"/>
                  <a:gd name="T49" fmla="*/ 202 h 862"/>
                  <a:gd name="T50" fmla="*/ 145 w 734"/>
                  <a:gd name="T51" fmla="*/ 120 h 862"/>
                  <a:gd name="T52" fmla="*/ 145 w 734"/>
                  <a:gd name="T53" fmla="*/ 285 h 862"/>
                  <a:gd name="T54" fmla="*/ 83 w 734"/>
                  <a:gd name="T55" fmla="*/ 202 h 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34" h="862">
                    <a:moveTo>
                      <a:pt x="719" y="23"/>
                    </a:moveTo>
                    <a:cubicBezTo>
                      <a:pt x="704" y="8"/>
                      <a:pt x="680" y="8"/>
                      <a:pt x="665" y="23"/>
                    </a:cubicBezTo>
                    <a:lnTo>
                      <a:pt x="552" y="137"/>
                    </a:lnTo>
                    <a:cubicBezTo>
                      <a:pt x="552" y="137"/>
                      <a:pt x="430" y="2"/>
                      <a:pt x="399" y="2"/>
                    </a:cubicBezTo>
                    <a:lnTo>
                      <a:pt x="187" y="2"/>
                    </a:lnTo>
                    <a:cubicBezTo>
                      <a:pt x="187" y="2"/>
                      <a:pt x="145" y="0"/>
                      <a:pt x="132" y="18"/>
                    </a:cubicBezTo>
                    <a:lnTo>
                      <a:pt x="11" y="178"/>
                    </a:lnTo>
                    <a:cubicBezTo>
                      <a:pt x="0" y="192"/>
                      <a:pt x="0" y="211"/>
                      <a:pt x="11" y="226"/>
                    </a:cubicBezTo>
                    <a:lnTo>
                      <a:pt x="121" y="380"/>
                    </a:lnTo>
                    <a:cubicBezTo>
                      <a:pt x="128" y="390"/>
                      <a:pt x="133" y="395"/>
                      <a:pt x="145" y="396"/>
                    </a:cubicBezTo>
                    <a:lnTo>
                      <a:pt x="145" y="812"/>
                    </a:lnTo>
                    <a:cubicBezTo>
                      <a:pt x="145" y="840"/>
                      <a:pt x="168" y="862"/>
                      <a:pt x="195" y="862"/>
                    </a:cubicBezTo>
                    <a:cubicBezTo>
                      <a:pt x="222" y="862"/>
                      <a:pt x="245" y="840"/>
                      <a:pt x="245" y="812"/>
                    </a:cubicBezTo>
                    <a:lnTo>
                      <a:pt x="245" y="452"/>
                    </a:lnTo>
                    <a:lnTo>
                      <a:pt x="333" y="452"/>
                    </a:lnTo>
                    <a:lnTo>
                      <a:pt x="333" y="812"/>
                    </a:lnTo>
                    <a:cubicBezTo>
                      <a:pt x="333" y="840"/>
                      <a:pt x="355" y="862"/>
                      <a:pt x="383" y="862"/>
                    </a:cubicBezTo>
                    <a:cubicBezTo>
                      <a:pt x="410" y="862"/>
                      <a:pt x="433" y="840"/>
                      <a:pt x="433" y="812"/>
                    </a:cubicBezTo>
                    <a:lnTo>
                      <a:pt x="433" y="131"/>
                    </a:lnTo>
                    <a:lnTo>
                      <a:pt x="522" y="218"/>
                    </a:lnTo>
                    <a:cubicBezTo>
                      <a:pt x="529" y="225"/>
                      <a:pt x="541" y="229"/>
                      <a:pt x="550" y="229"/>
                    </a:cubicBezTo>
                    <a:cubicBezTo>
                      <a:pt x="560" y="229"/>
                      <a:pt x="571" y="225"/>
                      <a:pt x="578" y="218"/>
                    </a:cubicBezTo>
                    <a:lnTo>
                      <a:pt x="719" y="77"/>
                    </a:lnTo>
                    <a:cubicBezTo>
                      <a:pt x="734" y="62"/>
                      <a:pt x="734" y="38"/>
                      <a:pt x="719" y="23"/>
                    </a:cubicBezTo>
                    <a:close/>
                    <a:moveTo>
                      <a:pt x="83" y="202"/>
                    </a:moveTo>
                    <a:lnTo>
                      <a:pt x="145" y="120"/>
                    </a:lnTo>
                    <a:lnTo>
                      <a:pt x="145" y="285"/>
                    </a:lnTo>
                    <a:lnTo>
                      <a:pt x="83" y="202"/>
                    </a:lnTo>
                    <a:close/>
                  </a:path>
                </a:pathLst>
              </a:custGeom>
              <a:grpFill/>
              <a:ln w="19050">
                <a:solidFill>
                  <a:schemeClr val="bg1">
                    <a:lumMod val="9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8" name="Recruit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A5548B1-E301-D7D7-AAFF-8EA0F30399EA}"/>
              </a:ext>
            </a:extLst>
          </p:cNvPr>
          <p:cNvGrpSpPr>
            <a:grpSpLocks noChangeAspect="1"/>
          </p:cNvGrpSpPr>
          <p:nvPr/>
        </p:nvGrpSpPr>
        <p:grpSpPr>
          <a:xfrm>
            <a:off x="6400553" y="5142567"/>
            <a:ext cx="522062" cy="531506"/>
            <a:chOff x="7423151" y="5740400"/>
            <a:chExt cx="614362" cy="625476"/>
          </a:xfrm>
          <a:solidFill>
            <a:schemeClr val="bg1"/>
          </a:solidFill>
        </p:grpSpPr>
        <p:sp>
          <p:nvSpPr>
            <p:cNvPr id="129" name="Freeform 2254">
              <a:extLst>
                <a:ext uri="{FF2B5EF4-FFF2-40B4-BE49-F238E27FC236}">
                  <a16:creationId xmlns:a16="http://schemas.microsoft.com/office/drawing/2014/main" id="{2769CECC-090E-9B3D-FAD3-A1EF7A5E2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5588" y="6040438"/>
              <a:ext cx="161925" cy="166688"/>
            </a:xfrm>
            <a:custGeom>
              <a:avLst/>
              <a:gdLst>
                <a:gd name="T0" fmla="*/ 0 w 145"/>
                <a:gd name="T1" fmla="*/ 47 h 149"/>
                <a:gd name="T2" fmla="*/ 86 w 145"/>
                <a:gd name="T3" fmla="*/ 135 h 149"/>
                <a:gd name="T4" fmla="*/ 132 w 145"/>
                <a:gd name="T5" fmla="*/ 135 h 149"/>
                <a:gd name="T6" fmla="*/ 132 w 145"/>
                <a:gd name="T7" fmla="*/ 88 h 149"/>
                <a:gd name="T8" fmla="*/ 46 w 145"/>
                <a:gd name="T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9">
                  <a:moveTo>
                    <a:pt x="0" y="47"/>
                  </a:moveTo>
                  <a:lnTo>
                    <a:pt x="86" y="135"/>
                  </a:lnTo>
                  <a:cubicBezTo>
                    <a:pt x="99" y="149"/>
                    <a:pt x="120" y="149"/>
                    <a:pt x="132" y="135"/>
                  </a:cubicBezTo>
                  <a:cubicBezTo>
                    <a:pt x="145" y="122"/>
                    <a:pt x="145" y="101"/>
                    <a:pt x="132" y="88"/>
                  </a:cubicBezTo>
                  <a:lnTo>
                    <a:pt x="46" y="0"/>
                  </a:lnTo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Oval 2256">
              <a:extLst>
                <a:ext uri="{FF2B5EF4-FFF2-40B4-BE49-F238E27FC236}">
                  <a16:creationId xmlns:a16="http://schemas.microsoft.com/office/drawing/2014/main" id="{FD3FFC8F-E05C-1CBA-F6EC-72359EB425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83488" y="5740400"/>
              <a:ext cx="376238" cy="385763"/>
            </a:xfrm>
            <a:prstGeom prst="ellipse">
              <a:avLst/>
            </a:prstGeom>
            <a:grpFill/>
            <a:ln w="190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Oval 2257">
              <a:extLst>
                <a:ext uri="{FF2B5EF4-FFF2-40B4-BE49-F238E27FC236}">
                  <a16:creationId xmlns:a16="http://schemas.microsoft.com/office/drawing/2014/main" id="{9A51B5AA-6080-93D0-B6A3-4BB0B226E5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1601" y="5805488"/>
              <a:ext cx="101600" cy="104775"/>
            </a:xfrm>
            <a:prstGeom prst="ellipse">
              <a:avLst/>
            </a:prstGeom>
            <a:grpFill/>
            <a:ln w="190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2258">
              <a:extLst>
                <a:ext uri="{FF2B5EF4-FFF2-40B4-BE49-F238E27FC236}">
                  <a16:creationId xmlns:a16="http://schemas.microsoft.com/office/drawing/2014/main" id="{BDA688B4-879A-0E85-57D6-1A2DF9E56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9688" y="5943600"/>
              <a:ext cx="223838" cy="185738"/>
            </a:xfrm>
            <a:custGeom>
              <a:avLst/>
              <a:gdLst>
                <a:gd name="T0" fmla="*/ 201 w 201"/>
                <a:gd name="T1" fmla="*/ 115 h 166"/>
                <a:gd name="T2" fmla="*/ 150 w 201"/>
                <a:gd name="T3" fmla="*/ 166 h 166"/>
                <a:gd name="T4" fmla="*/ 51 w 201"/>
                <a:gd name="T5" fmla="*/ 166 h 166"/>
                <a:gd name="T6" fmla="*/ 0 w 201"/>
                <a:gd name="T7" fmla="*/ 115 h 166"/>
                <a:gd name="T8" fmla="*/ 0 w 201"/>
                <a:gd name="T9" fmla="*/ 51 h 166"/>
                <a:gd name="T10" fmla="*/ 51 w 201"/>
                <a:gd name="T11" fmla="*/ 0 h 166"/>
                <a:gd name="T12" fmla="*/ 150 w 201"/>
                <a:gd name="T13" fmla="*/ 0 h 166"/>
                <a:gd name="T14" fmla="*/ 201 w 201"/>
                <a:gd name="T15" fmla="*/ 51 h 166"/>
                <a:gd name="T16" fmla="*/ 201 w 201"/>
                <a:gd name="T17" fmla="*/ 11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1" h="166">
                  <a:moveTo>
                    <a:pt x="201" y="115"/>
                  </a:moveTo>
                  <a:cubicBezTo>
                    <a:pt x="201" y="143"/>
                    <a:pt x="178" y="166"/>
                    <a:pt x="150" y="166"/>
                  </a:cubicBezTo>
                  <a:lnTo>
                    <a:pt x="51" y="166"/>
                  </a:lnTo>
                  <a:cubicBezTo>
                    <a:pt x="23" y="166"/>
                    <a:pt x="0" y="143"/>
                    <a:pt x="0" y="115"/>
                  </a:cubicBezTo>
                  <a:lnTo>
                    <a:pt x="0" y="51"/>
                  </a:lnTo>
                  <a:cubicBezTo>
                    <a:pt x="0" y="23"/>
                    <a:pt x="23" y="0"/>
                    <a:pt x="51" y="0"/>
                  </a:cubicBezTo>
                  <a:lnTo>
                    <a:pt x="150" y="0"/>
                  </a:lnTo>
                  <a:cubicBezTo>
                    <a:pt x="178" y="0"/>
                    <a:pt x="201" y="23"/>
                    <a:pt x="201" y="51"/>
                  </a:cubicBezTo>
                  <a:lnTo>
                    <a:pt x="201" y="115"/>
                  </a:lnTo>
                  <a:close/>
                </a:path>
              </a:pathLst>
            </a:custGeom>
            <a:grpFill/>
            <a:ln w="190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Line 2259">
              <a:extLst>
                <a:ext uri="{FF2B5EF4-FFF2-40B4-BE49-F238E27FC236}">
                  <a16:creationId xmlns:a16="http://schemas.microsoft.com/office/drawing/2014/main" id="{8E1CAC47-B29A-2C29-99BA-23405003454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710488" y="6019800"/>
              <a:ext cx="0" cy="201613"/>
            </a:xfrm>
            <a:prstGeom prst="line">
              <a:avLst/>
            </a:prstGeom>
            <a:grpFill/>
            <a:ln w="190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Line 2260">
              <a:extLst>
                <a:ext uri="{FF2B5EF4-FFF2-40B4-BE49-F238E27FC236}">
                  <a16:creationId xmlns:a16="http://schemas.microsoft.com/office/drawing/2014/main" id="{F58A72D0-7B68-B14E-928E-0317907B01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34313" y="6019800"/>
              <a:ext cx="0" cy="201613"/>
            </a:xfrm>
            <a:prstGeom prst="line">
              <a:avLst/>
            </a:prstGeom>
            <a:grpFill/>
            <a:ln w="190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2261">
              <a:extLst>
                <a:ext uri="{FF2B5EF4-FFF2-40B4-BE49-F238E27FC236}">
                  <a16:creationId xmlns:a16="http://schemas.microsoft.com/office/drawing/2014/main" id="{BADF2A8B-5AD0-C0DA-626D-7AF1BA8C4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2701" y="5827713"/>
              <a:ext cx="41275" cy="106363"/>
            </a:xfrm>
            <a:custGeom>
              <a:avLst/>
              <a:gdLst>
                <a:gd name="T0" fmla="*/ 0 w 38"/>
                <a:gd name="T1" fmla="*/ 95 h 95"/>
                <a:gd name="T2" fmla="*/ 10 w 38"/>
                <a:gd name="T3" fmla="*/ 43 h 95"/>
                <a:gd name="T4" fmla="*/ 38 w 38"/>
                <a:gd name="T5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95">
                  <a:moveTo>
                    <a:pt x="0" y="95"/>
                  </a:moveTo>
                  <a:cubicBezTo>
                    <a:pt x="0" y="76"/>
                    <a:pt x="4" y="59"/>
                    <a:pt x="10" y="43"/>
                  </a:cubicBezTo>
                  <a:cubicBezTo>
                    <a:pt x="17" y="27"/>
                    <a:pt x="26" y="12"/>
                    <a:pt x="38" y="0"/>
                  </a:cubicBezTo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2262">
              <a:extLst>
                <a:ext uri="{FF2B5EF4-FFF2-40B4-BE49-F238E27FC236}">
                  <a16:creationId xmlns:a16="http://schemas.microsoft.com/office/drawing/2014/main" id="{F9566D70-34D7-0069-F9DA-57229731B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0776" y="6161088"/>
              <a:ext cx="77788" cy="79375"/>
            </a:xfrm>
            <a:prstGeom prst="ellipse">
              <a:avLst/>
            </a:prstGeom>
            <a:grpFill/>
            <a:ln w="190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2263">
              <a:extLst>
                <a:ext uri="{FF2B5EF4-FFF2-40B4-BE49-F238E27FC236}">
                  <a16:creationId xmlns:a16="http://schemas.microsoft.com/office/drawing/2014/main" id="{D4972630-A232-3E0A-6371-16187EAB38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3151" y="6275388"/>
              <a:ext cx="171450" cy="90488"/>
            </a:xfrm>
            <a:custGeom>
              <a:avLst/>
              <a:gdLst>
                <a:gd name="T0" fmla="*/ 0 w 154"/>
                <a:gd name="T1" fmla="*/ 81 h 81"/>
                <a:gd name="T2" fmla="*/ 0 w 154"/>
                <a:gd name="T3" fmla="*/ 36 h 81"/>
                <a:gd name="T4" fmla="*/ 36 w 154"/>
                <a:gd name="T5" fmla="*/ 0 h 81"/>
                <a:gd name="T6" fmla="*/ 118 w 154"/>
                <a:gd name="T7" fmla="*/ 0 h 81"/>
                <a:gd name="T8" fmla="*/ 154 w 154"/>
                <a:gd name="T9" fmla="*/ 36 h 81"/>
                <a:gd name="T10" fmla="*/ 154 w 154"/>
                <a:gd name="T1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" h="81">
                  <a:moveTo>
                    <a:pt x="0" y="81"/>
                  </a:moveTo>
                  <a:lnTo>
                    <a:pt x="0" y="36"/>
                  </a:lnTo>
                  <a:cubicBezTo>
                    <a:pt x="0" y="16"/>
                    <a:pt x="16" y="0"/>
                    <a:pt x="36" y="0"/>
                  </a:cubicBezTo>
                  <a:lnTo>
                    <a:pt x="118" y="0"/>
                  </a:lnTo>
                  <a:cubicBezTo>
                    <a:pt x="138" y="0"/>
                    <a:pt x="154" y="16"/>
                    <a:pt x="154" y="36"/>
                  </a:cubicBezTo>
                  <a:lnTo>
                    <a:pt x="154" y="81"/>
                  </a:lnTo>
                </a:path>
              </a:pathLst>
            </a:custGeom>
            <a:grpFill/>
            <a:ln w="190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Oval 2264">
              <a:extLst>
                <a:ext uri="{FF2B5EF4-FFF2-40B4-BE49-F238E27FC236}">
                  <a16:creationId xmlns:a16="http://schemas.microsoft.com/office/drawing/2014/main" id="{DEC75C72-5DD7-6EAA-812C-529C9156AD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3813" y="6161088"/>
              <a:ext cx="77788" cy="79375"/>
            </a:xfrm>
            <a:prstGeom prst="ellipse">
              <a:avLst/>
            </a:prstGeom>
            <a:grpFill/>
            <a:ln w="190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2265">
              <a:extLst>
                <a:ext uri="{FF2B5EF4-FFF2-40B4-BE49-F238E27FC236}">
                  <a16:creationId xmlns:a16="http://schemas.microsoft.com/office/drawing/2014/main" id="{AE738FD7-957B-F463-DA53-79D34155E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4601" y="6275388"/>
              <a:ext cx="173038" cy="90488"/>
            </a:xfrm>
            <a:custGeom>
              <a:avLst/>
              <a:gdLst>
                <a:gd name="T0" fmla="*/ 0 w 155"/>
                <a:gd name="T1" fmla="*/ 81 h 81"/>
                <a:gd name="T2" fmla="*/ 0 w 155"/>
                <a:gd name="T3" fmla="*/ 36 h 81"/>
                <a:gd name="T4" fmla="*/ 37 w 155"/>
                <a:gd name="T5" fmla="*/ 0 h 81"/>
                <a:gd name="T6" fmla="*/ 118 w 155"/>
                <a:gd name="T7" fmla="*/ 0 h 81"/>
                <a:gd name="T8" fmla="*/ 155 w 155"/>
                <a:gd name="T9" fmla="*/ 36 h 81"/>
                <a:gd name="T10" fmla="*/ 155 w 155"/>
                <a:gd name="T1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5" h="81">
                  <a:moveTo>
                    <a:pt x="0" y="81"/>
                  </a:moveTo>
                  <a:lnTo>
                    <a:pt x="0" y="36"/>
                  </a:lnTo>
                  <a:cubicBezTo>
                    <a:pt x="0" y="16"/>
                    <a:pt x="17" y="0"/>
                    <a:pt x="37" y="0"/>
                  </a:cubicBezTo>
                  <a:lnTo>
                    <a:pt x="118" y="0"/>
                  </a:lnTo>
                  <a:cubicBezTo>
                    <a:pt x="139" y="0"/>
                    <a:pt x="155" y="16"/>
                    <a:pt x="155" y="36"/>
                  </a:cubicBezTo>
                  <a:lnTo>
                    <a:pt x="155" y="81"/>
                  </a:lnTo>
                </a:path>
              </a:pathLst>
            </a:custGeom>
            <a:grpFill/>
            <a:ln w="190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Oval 2266">
              <a:extLst>
                <a:ext uri="{FF2B5EF4-FFF2-40B4-BE49-F238E27FC236}">
                  <a16:creationId xmlns:a16="http://schemas.microsoft.com/office/drawing/2014/main" id="{51288542-D3FC-6C35-9B22-311AB695DC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5263" y="6161088"/>
              <a:ext cx="77788" cy="79375"/>
            </a:xfrm>
            <a:prstGeom prst="ellipse">
              <a:avLst/>
            </a:prstGeom>
            <a:grpFill/>
            <a:ln w="190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2267">
              <a:extLst>
                <a:ext uri="{FF2B5EF4-FFF2-40B4-BE49-F238E27FC236}">
                  <a16:creationId xmlns:a16="http://schemas.microsoft.com/office/drawing/2014/main" id="{E570F4E4-8558-E8EF-9471-A781EB97D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7638" y="6275388"/>
              <a:ext cx="173038" cy="90488"/>
            </a:xfrm>
            <a:custGeom>
              <a:avLst/>
              <a:gdLst>
                <a:gd name="T0" fmla="*/ 0 w 155"/>
                <a:gd name="T1" fmla="*/ 81 h 81"/>
                <a:gd name="T2" fmla="*/ 0 w 155"/>
                <a:gd name="T3" fmla="*/ 36 h 81"/>
                <a:gd name="T4" fmla="*/ 37 w 155"/>
                <a:gd name="T5" fmla="*/ 0 h 81"/>
                <a:gd name="T6" fmla="*/ 118 w 155"/>
                <a:gd name="T7" fmla="*/ 0 h 81"/>
                <a:gd name="T8" fmla="*/ 155 w 155"/>
                <a:gd name="T9" fmla="*/ 36 h 81"/>
                <a:gd name="T10" fmla="*/ 155 w 155"/>
                <a:gd name="T1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5" h="81">
                  <a:moveTo>
                    <a:pt x="0" y="81"/>
                  </a:moveTo>
                  <a:lnTo>
                    <a:pt x="0" y="36"/>
                  </a:lnTo>
                  <a:cubicBezTo>
                    <a:pt x="0" y="16"/>
                    <a:pt x="17" y="0"/>
                    <a:pt x="37" y="0"/>
                  </a:cubicBezTo>
                  <a:lnTo>
                    <a:pt x="118" y="0"/>
                  </a:lnTo>
                  <a:cubicBezTo>
                    <a:pt x="138" y="0"/>
                    <a:pt x="155" y="16"/>
                    <a:pt x="155" y="36"/>
                  </a:cubicBezTo>
                  <a:lnTo>
                    <a:pt x="155" y="81"/>
                  </a:lnTo>
                </a:path>
              </a:pathLst>
            </a:custGeom>
            <a:grpFill/>
            <a:ln w="190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5988C5AA-0085-1AA3-36D0-50E259FC95A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flipH="1">
            <a:off x="6247707" y="1741431"/>
            <a:ext cx="746812" cy="6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296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ageSelected0">
            <a:extLst>
              <a:ext uri="{FF2B5EF4-FFF2-40B4-BE49-F238E27FC236}">
                <a16:creationId xmlns:a16="http://schemas.microsoft.com/office/drawing/2014/main" id="{26F7BB61-BC32-86F8-1685-7BE7CC95DC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204" y="644525"/>
            <a:ext cx="9959044" cy="5630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D27FB90-C2D3-B441-69E4-1C06A74662D1}"/>
              </a:ext>
            </a:extLst>
          </p:cNvPr>
          <p:cNvSpPr txBox="1"/>
          <p:nvPr/>
        </p:nvSpPr>
        <p:spPr>
          <a:xfrm>
            <a:off x="2899838" y="349058"/>
            <a:ext cx="6096000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rPr>
              <a:t>DG Incidents</a:t>
            </a:r>
          </a:p>
        </p:txBody>
      </p:sp>
    </p:spTree>
    <p:extLst>
      <p:ext uri="{BB962C8B-B14F-4D97-AF65-F5344CB8AC3E}">
        <p14:creationId xmlns:p14="http://schemas.microsoft.com/office/powerpoint/2010/main" val="32213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35F7F3-C1B5-4B60-A00A-4EB618DDFB5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268361" y="363793"/>
            <a:ext cx="10923639" cy="699831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rPr>
              <a:t>Cargo and other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itchFamily="34" charset="0"/>
              </a:rPr>
              <a:t> entities compliance summary </a:t>
            </a:r>
            <a: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 </a:t>
            </a: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  <a:p>
            <a:endParaRPr lang="en-US" dirty="0"/>
          </a:p>
        </p:txBody>
      </p:sp>
      <p:grpSp>
        <p:nvGrpSpPr>
          <p:cNvPr id="61" name="Group 17">
            <a:extLst>
              <a:ext uri="{FF2B5EF4-FFF2-40B4-BE49-F238E27FC236}">
                <a16:creationId xmlns:a16="http://schemas.microsoft.com/office/drawing/2014/main" id="{8B9DBEBA-0A19-42E8-A40B-BA960042EAB9}"/>
              </a:ext>
            </a:extLst>
          </p:cNvPr>
          <p:cNvGrpSpPr/>
          <p:nvPr/>
        </p:nvGrpSpPr>
        <p:grpSpPr>
          <a:xfrm>
            <a:off x="3588774" y="1352438"/>
            <a:ext cx="7718322" cy="1208605"/>
            <a:chOff x="8514133" y="-121016"/>
            <a:chExt cx="5454475" cy="798833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2F5B68DA-89AC-47E3-A09F-219C2CE7114D}"/>
                </a:ext>
              </a:extLst>
            </p:cNvPr>
            <p:cNvSpPr txBox="1"/>
            <p:nvPr/>
          </p:nvSpPr>
          <p:spPr>
            <a:xfrm>
              <a:off x="8514133" y="-77410"/>
              <a:ext cx="2194396" cy="244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b="1" dirty="0">
                  <a:cs typeface="Arial" pitchFamily="34" charset="0"/>
                </a:rPr>
                <a:t>All Entities with no approval</a:t>
              </a:r>
              <a:endParaRPr lang="ko-KR" altLang="en-US" b="1" dirty="0">
                <a:cs typeface="Arial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A9460E67-2C32-4475-939A-C29902F106D1}"/>
                </a:ext>
              </a:extLst>
            </p:cNvPr>
            <p:cNvSpPr txBox="1"/>
            <p:nvPr/>
          </p:nvSpPr>
          <p:spPr>
            <a:xfrm>
              <a:off x="8572262" y="242541"/>
              <a:ext cx="1981200" cy="3458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altLang="ko-KR" sz="1400" dirty="0">
                  <a:cs typeface="Arial" pitchFamily="34" charset="0"/>
                </a:rPr>
                <a:t>Any cargo handling entities in the supply chain including Aerodromes</a:t>
              </a:r>
              <a:endParaRPr lang="ko-KR" altLang="en-US" sz="1400" dirty="0">
                <a:cs typeface="Arial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E03D2388-3B7B-47C4-A7D3-94DBEA3E4165}"/>
                </a:ext>
              </a:extLst>
            </p:cNvPr>
            <p:cNvSpPr txBox="1"/>
            <p:nvPr/>
          </p:nvSpPr>
          <p:spPr>
            <a:xfrm>
              <a:off x="11403637" y="-121016"/>
              <a:ext cx="2564971" cy="244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b="1" dirty="0">
                  <a:cs typeface="Arial" pitchFamily="34" charset="0"/>
                </a:rPr>
                <a:t>Entities requiring approval</a:t>
              </a:r>
              <a:endParaRPr lang="ko-KR" altLang="en-US" b="1" dirty="0">
                <a:cs typeface="Arial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7C2B593A-9CD4-4BC7-8DB2-7391047E7C32}"/>
                </a:ext>
              </a:extLst>
            </p:cNvPr>
            <p:cNvSpPr txBox="1"/>
            <p:nvPr/>
          </p:nvSpPr>
          <p:spPr>
            <a:xfrm>
              <a:off x="11428519" y="189593"/>
              <a:ext cx="1981200" cy="4882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altLang="ko-KR" sz="1400" dirty="0">
                  <a:cs typeface="Arial" pitchFamily="34" charset="0"/>
                </a:rPr>
                <a:t>Any entities doing final acceptance of cargo/ dangerous goods before it is loaded onto an aircraft </a:t>
              </a:r>
              <a:endParaRPr lang="ko-KR" altLang="en-US" sz="1400" dirty="0">
                <a:cs typeface="Arial" pitchFamily="34" charset="0"/>
              </a:endParaRPr>
            </a:p>
          </p:txBody>
        </p:sp>
      </p:grpSp>
      <p:sp>
        <p:nvSpPr>
          <p:cNvPr id="66" name="Rectangle 8">
            <a:extLst>
              <a:ext uri="{FF2B5EF4-FFF2-40B4-BE49-F238E27FC236}">
                <a16:creationId xmlns:a16="http://schemas.microsoft.com/office/drawing/2014/main" id="{A1C1860F-DF2B-4418-AC25-F1B73A71E989}"/>
              </a:ext>
            </a:extLst>
          </p:cNvPr>
          <p:cNvSpPr/>
          <p:nvPr/>
        </p:nvSpPr>
        <p:spPr>
          <a:xfrm flipH="1">
            <a:off x="3392128" y="2797835"/>
            <a:ext cx="83545" cy="33473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grpSp>
        <p:nvGrpSpPr>
          <p:cNvPr id="67" name="Group 18">
            <a:extLst>
              <a:ext uri="{FF2B5EF4-FFF2-40B4-BE49-F238E27FC236}">
                <a16:creationId xmlns:a16="http://schemas.microsoft.com/office/drawing/2014/main" id="{A8B53980-8BEC-4B88-86EF-8C2435E032AD}"/>
              </a:ext>
            </a:extLst>
          </p:cNvPr>
          <p:cNvGrpSpPr/>
          <p:nvPr/>
        </p:nvGrpSpPr>
        <p:grpSpPr>
          <a:xfrm>
            <a:off x="3657570" y="2818529"/>
            <a:ext cx="3667539" cy="3180543"/>
            <a:chOff x="8899621" y="506479"/>
            <a:chExt cx="3292379" cy="2477251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2947B4A1-C486-4853-B4CC-27A88C369636}"/>
                </a:ext>
              </a:extLst>
            </p:cNvPr>
            <p:cNvSpPr txBox="1"/>
            <p:nvPr/>
          </p:nvSpPr>
          <p:spPr>
            <a:xfrm>
              <a:off x="8908448" y="506479"/>
              <a:ext cx="3283552" cy="2941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Submit an MOP for approval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5C2150D6-5FCC-46B2-9CB3-2B1A10143D01}"/>
                </a:ext>
              </a:extLst>
            </p:cNvPr>
            <p:cNvSpPr txBox="1"/>
            <p:nvPr/>
          </p:nvSpPr>
          <p:spPr>
            <a:xfrm>
              <a:off x="8908448" y="827639"/>
              <a:ext cx="3283552" cy="2941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MOP must contain CBTA program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98493345-CA20-4E3A-B4E9-D8333F4CA2AA}"/>
                </a:ext>
              </a:extLst>
            </p:cNvPr>
            <p:cNvSpPr txBox="1"/>
            <p:nvPr/>
          </p:nvSpPr>
          <p:spPr>
            <a:xfrm>
              <a:off x="8899621" y="1990230"/>
              <a:ext cx="3283552" cy="492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Hand dangerous goods cargo to approved agent for final acceptanc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4950C678-E497-4791-8311-3F8ED06E68E8}"/>
                </a:ext>
              </a:extLst>
            </p:cNvPr>
            <p:cNvSpPr txBox="1"/>
            <p:nvPr/>
          </p:nvSpPr>
          <p:spPr>
            <a:xfrm>
              <a:off x="8899645" y="1715018"/>
              <a:ext cx="3283552" cy="2950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Does not handle dangerous goods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B95FC66-E04B-4F88-8660-382C618B0721}"/>
                </a:ext>
              </a:extLst>
            </p:cNvPr>
            <p:cNvSpPr txBox="1"/>
            <p:nvPr/>
          </p:nvSpPr>
          <p:spPr>
            <a:xfrm>
              <a:off x="8908378" y="1141140"/>
              <a:ext cx="3283552" cy="6900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Ensure declaration for non-dg cargo is given to the handling agent or operator 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9D5003CD-AD7D-418C-A754-590B227FF95C}"/>
                </a:ext>
              </a:extLst>
            </p:cNvPr>
            <p:cNvSpPr txBox="1"/>
            <p:nvPr/>
          </p:nvSpPr>
          <p:spPr>
            <a:xfrm>
              <a:off x="8908448" y="2754598"/>
              <a:ext cx="3283552" cy="229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Report incidents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6F5896EF-0A29-4D7D-AA73-0FBD834EDEDD}"/>
                </a:ext>
              </a:extLst>
            </p:cNvPr>
            <p:cNvSpPr txBox="1"/>
            <p:nvPr/>
          </p:nvSpPr>
          <p:spPr>
            <a:xfrm>
              <a:off x="8908448" y="2433439"/>
              <a:ext cx="3283552" cy="382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cs typeface="Arial" pitchFamily="34" charset="0"/>
                </a:rPr>
                <a:t>Reject or rescreening in the absence of declaration</a:t>
              </a:r>
            </a:p>
          </p:txBody>
        </p:sp>
      </p:grpSp>
      <p:sp>
        <p:nvSpPr>
          <p:cNvPr id="4" name="Rectangle 8">
            <a:extLst>
              <a:ext uri="{FF2B5EF4-FFF2-40B4-BE49-F238E27FC236}">
                <a16:creationId xmlns:a16="http://schemas.microsoft.com/office/drawing/2014/main" id="{85E10B5A-5098-2234-08B7-B78F23B6C845}"/>
              </a:ext>
            </a:extLst>
          </p:cNvPr>
          <p:cNvSpPr/>
          <p:nvPr/>
        </p:nvSpPr>
        <p:spPr>
          <a:xfrm>
            <a:off x="7393829" y="2714260"/>
            <a:ext cx="68855" cy="34407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grpSp>
        <p:nvGrpSpPr>
          <p:cNvPr id="5" name="Group 18">
            <a:extLst>
              <a:ext uri="{FF2B5EF4-FFF2-40B4-BE49-F238E27FC236}">
                <a16:creationId xmlns:a16="http://schemas.microsoft.com/office/drawing/2014/main" id="{F576574C-2534-288B-21A8-2179F503E8CB}"/>
              </a:ext>
            </a:extLst>
          </p:cNvPr>
          <p:cNvGrpSpPr/>
          <p:nvPr/>
        </p:nvGrpSpPr>
        <p:grpSpPr>
          <a:xfrm>
            <a:off x="7720949" y="2774283"/>
            <a:ext cx="4018767" cy="3341702"/>
            <a:chOff x="8908448" y="506479"/>
            <a:chExt cx="3291605" cy="2465134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0E261BF-4DEF-C183-9194-E12DCFAD199D}"/>
                </a:ext>
              </a:extLst>
            </p:cNvPr>
            <p:cNvSpPr txBox="1"/>
            <p:nvPr/>
          </p:nvSpPr>
          <p:spPr>
            <a:xfrm>
              <a:off x="8908448" y="506479"/>
              <a:ext cx="3283552" cy="2170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1"/>
                  </a:solidFill>
                  <a:cs typeface="Arial" pitchFamily="34" charset="0"/>
                </a:rPr>
                <a:t>Application for Certification 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47761DF-E76D-DDF4-31B9-36F59CF8E965}"/>
                </a:ext>
              </a:extLst>
            </p:cNvPr>
            <p:cNvSpPr txBox="1"/>
            <p:nvPr/>
          </p:nvSpPr>
          <p:spPr>
            <a:xfrm>
              <a:off x="8908448" y="827639"/>
              <a:ext cx="3283552" cy="2170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1"/>
                  </a:solidFill>
                  <a:cs typeface="Arial" pitchFamily="34" charset="0"/>
                </a:rPr>
                <a:t>Submit MOP with CBTA program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3112EDA-42C1-C3F7-5A72-40E700573451}"/>
                </a:ext>
              </a:extLst>
            </p:cNvPr>
            <p:cNvSpPr txBox="1"/>
            <p:nvPr/>
          </p:nvSpPr>
          <p:spPr>
            <a:xfrm>
              <a:off x="8908448" y="1791119"/>
              <a:ext cx="3283552" cy="362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1"/>
                  </a:solidFill>
                  <a:cs typeface="Arial" pitchFamily="34" charset="0"/>
                </a:rPr>
                <a:t>Ensure declaration for non-DG cargo is given to the operator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56B860D-A783-C2D5-9C9E-41A1D7BD09C8}"/>
                </a:ext>
              </a:extLst>
            </p:cNvPr>
            <p:cNvSpPr txBox="1"/>
            <p:nvPr/>
          </p:nvSpPr>
          <p:spPr>
            <a:xfrm>
              <a:off x="8908448" y="1469959"/>
              <a:ext cx="3283552" cy="2170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1"/>
                  </a:solidFill>
                  <a:cs typeface="Arial" pitchFamily="34" charset="0"/>
                </a:rPr>
                <a:t>Will be added on the CAA list 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78E8081-9FB7-34A8-D417-804A5E90D510}"/>
                </a:ext>
              </a:extLst>
            </p:cNvPr>
            <p:cNvSpPr txBox="1"/>
            <p:nvPr/>
          </p:nvSpPr>
          <p:spPr>
            <a:xfrm>
              <a:off x="8908448" y="1148799"/>
              <a:ext cx="3283552" cy="2170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1"/>
                  </a:solidFill>
                  <a:cs typeface="Arial" pitchFamily="34" charset="0"/>
                </a:rPr>
                <a:t>Five Phase Process will apply 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B7DDDD9-FF4E-E970-3FD6-AEC7E60244ED}"/>
                </a:ext>
              </a:extLst>
            </p:cNvPr>
            <p:cNvSpPr txBox="1"/>
            <p:nvPr/>
          </p:nvSpPr>
          <p:spPr>
            <a:xfrm>
              <a:off x="8916501" y="2170304"/>
              <a:ext cx="3283552" cy="2170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1"/>
                  </a:solidFill>
                  <a:cs typeface="Arial" pitchFamily="34" charset="0"/>
                </a:rPr>
                <a:t>Keeps all DG Documentation 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EC51942-BB3C-A6C0-4859-F9EA9B7FAB04}"/>
                </a:ext>
              </a:extLst>
            </p:cNvPr>
            <p:cNvSpPr txBox="1"/>
            <p:nvPr/>
          </p:nvSpPr>
          <p:spPr>
            <a:xfrm>
              <a:off x="8908448" y="2754598"/>
              <a:ext cx="3283552" cy="2170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1"/>
                  </a:solidFill>
                  <a:cs typeface="Arial" pitchFamily="34" charset="0"/>
                </a:rPr>
                <a:t>Report incident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C34D94E-83B3-766E-3B70-5CCCB20BFAF9}"/>
                </a:ext>
              </a:extLst>
            </p:cNvPr>
            <p:cNvSpPr txBox="1"/>
            <p:nvPr/>
          </p:nvSpPr>
          <p:spPr>
            <a:xfrm>
              <a:off x="8908448" y="2433439"/>
              <a:ext cx="3283552" cy="362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8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600" dirty="0">
                  <a:solidFill>
                    <a:schemeClr val="accent1"/>
                  </a:solidFill>
                  <a:cs typeface="Arial" pitchFamily="34" charset="0"/>
                </a:rPr>
                <a:t>Reject or rescreening in the absence of declaration</a:t>
              </a:r>
            </a:p>
          </p:txBody>
        </p:sp>
      </p:grpSp>
      <p:pic>
        <p:nvPicPr>
          <p:cNvPr id="17" name="Picture 16" descr="A plane being loaded with cargo&#10;&#10;Description automatically generated with medium confidence">
            <a:extLst>
              <a:ext uri="{FF2B5EF4-FFF2-40B4-BE49-F238E27FC236}">
                <a16:creationId xmlns:a16="http://schemas.microsoft.com/office/drawing/2014/main" id="{3067B92C-0C90-98E9-83D2-97FEBB400F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5" y="4070554"/>
            <a:ext cx="3042668" cy="21073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Picture 18" descr="A large airplane with a lift&#10;&#10;Description automatically generated with medium confidence">
            <a:extLst>
              <a:ext uri="{FF2B5EF4-FFF2-40B4-BE49-F238E27FC236}">
                <a16:creationId xmlns:a16="http://schemas.microsoft.com/office/drawing/2014/main" id="{A999FD92-B174-5DD2-7F9A-7B3E008866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686" y="2282927"/>
            <a:ext cx="3076575" cy="14859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Picture 2" descr="dang ppt cont bot.png">
            <a:extLst>
              <a:ext uri="{FF2B5EF4-FFF2-40B4-BE49-F238E27FC236}">
                <a16:creationId xmlns:a16="http://schemas.microsoft.com/office/drawing/2014/main" id="{7A5372F8-2A63-7E20-102F-556E75781AD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34228"/>
            <a:ext cx="12192000" cy="69092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BC90987-E6F1-7681-3655-61989FCE186C}"/>
              </a:ext>
            </a:extLst>
          </p:cNvPr>
          <p:cNvSpPr txBox="1"/>
          <p:nvPr/>
        </p:nvSpPr>
        <p:spPr>
          <a:xfrm>
            <a:off x="7010403" y="1229032"/>
            <a:ext cx="117003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02</a:t>
            </a:r>
            <a:endParaRPr kumimoji="0" lang="ko-KR" altLang="en-US" sz="3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0469E9-36F3-B651-598F-CD804F3F5303}"/>
              </a:ext>
            </a:extLst>
          </p:cNvPr>
          <p:cNvSpPr txBox="1"/>
          <p:nvPr/>
        </p:nvSpPr>
        <p:spPr>
          <a:xfrm>
            <a:off x="2930014" y="1269660"/>
            <a:ext cx="227125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01</a:t>
            </a:r>
            <a:endParaRPr kumimoji="0" lang="ko-KR" altLang="en-US" sz="3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맑은 고딕" panose="020B0503020000020004" pitchFamily="34" charset="-127"/>
              <a:cs typeface="Arial" pitchFamily="34" charset="0"/>
            </a:endParaRPr>
          </a:p>
        </p:txBody>
      </p:sp>
      <p:pic>
        <p:nvPicPr>
          <p:cNvPr id="24" name="Picture 23" descr="dang ppt cont top 2.png">
            <a:extLst>
              <a:ext uri="{FF2B5EF4-FFF2-40B4-BE49-F238E27FC236}">
                <a16:creationId xmlns:a16="http://schemas.microsoft.com/office/drawing/2014/main" id="{CF4AED64-5FE4-2D2D-5DAD-16D13B0C357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8215" y="158993"/>
            <a:ext cx="990600" cy="114909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5536307-790F-D1A1-E341-96268048BF62}"/>
              </a:ext>
            </a:extLst>
          </p:cNvPr>
          <p:cNvSpPr txBox="1"/>
          <p:nvPr/>
        </p:nvSpPr>
        <p:spPr>
          <a:xfrm>
            <a:off x="319910" y="570861"/>
            <a:ext cx="182352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ko-KR" sz="2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Dangerous Goods 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ko-KR" sz="2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ir Cargo</a:t>
            </a:r>
            <a:endParaRPr kumimoji="0" lang="ko-KR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91435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35F7F3-C1B5-4B60-A00A-4EB618DDFB5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17522" y="414851"/>
            <a:ext cx="9310688" cy="744537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  <a:defRPr/>
            </a:pPr>
            <a:r>
              <a:rPr lang="en-US" sz="3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5 Phase Process </a:t>
            </a:r>
          </a:p>
        </p:txBody>
      </p:sp>
      <p:sp>
        <p:nvSpPr>
          <p:cNvPr id="3" name="Pentagon 37">
            <a:extLst>
              <a:ext uri="{FF2B5EF4-FFF2-40B4-BE49-F238E27FC236}">
                <a16:creationId xmlns:a16="http://schemas.microsoft.com/office/drawing/2014/main" id="{BB5C14E8-9730-4887-980E-07C30B3C31FA}"/>
              </a:ext>
            </a:extLst>
          </p:cNvPr>
          <p:cNvSpPr/>
          <p:nvPr/>
        </p:nvSpPr>
        <p:spPr>
          <a:xfrm>
            <a:off x="3075707" y="1789448"/>
            <a:ext cx="1905573" cy="1195244"/>
          </a:xfrm>
          <a:prstGeom prst="homePlate">
            <a:avLst>
              <a:gd name="adj" fmla="val 23318"/>
            </a:avLst>
          </a:pr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995172-D4AD-4F93-8C03-5BB0D7C23E89}"/>
              </a:ext>
            </a:extLst>
          </p:cNvPr>
          <p:cNvSpPr txBox="1"/>
          <p:nvPr/>
        </p:nvSpPr>
        <p:spPr>
          <a:xfrm>
            <a:off x="3306365" y="2272528"/>
            <a:ext cx="136946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rmal Application Phase 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7" name="Flowchart: Document 6">
            <a:extLst>
              <a:ext uri="{FF2B5EF4-FFF2-40B4-BE49-F238E27FC236}">
                <a16:creationId xmlns:a16="http://schemas.microsoft.com/office/drawing/2014/main" id="{EDD3B9B9-2CA7-422B-97CC-965639F7FBED}"/>
              </a:ext>
            </a:extLst>
          </p:cNvPr>
          <p:cNvSpPr/>
          <p:nvPr/>
        </p:nvSpPr>
        <p:spPr>
          <a:xfrm>
            <a:off x="3057976" y="3066037"/>
            <a:ext cx="1905573" cy="3029603"/>
          </a:xfrm>
          <a:prstGeom prst="flowChartDocumen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C2A8F3-FFD6-4FAC-99BC-26181E1852A6}"/>
              </a:ext>
            </a:extLst>
          </p:cNvPr>
          <p:cNvSpPr txBox="1"/>
          <p:nvPr/>
        </p:nvSpPr>
        <p:spPr>
          <a:xfrm>
            <a:off x="3057976" y="3034260"/>
            <a:ext cx="180899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itchFamily="34" charset="0"/>
            </a:endParaRPr>
          </a:p>
          <a:p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Formal application</a:t>
            </a:r>
          </a:p>
          <a:p>
            <a:endParaRPr lang="en-GB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Application for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Proof of paymen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Submission of relevant manuals- MOP/TPM/CBTA/FOM  </a:t>
            </a:r>
          </a:p>
        </p:txBody>
      </p:sp>
      <p:sp>
        <p:nvSpPr>
          <p:cNvPr id="9" name="Pentagon 43">
            <a:extLst>
              <a:ext uri="{FF2B5EF4-FFF2-40B4-BE49-F238E27FC236}">
                <a16:creationId xmlns:a16="http://schemas.microsoft.com/office/drawing/2014/main" id="{2F476DF6-38B3-4375-A67F-AE3A4EABED64}"/>
              </a:ext>
            </a:extLst>
          </p:cNvPr>
          <p:cNvSpPr/>
          <p:nvPr/>
        </p:nvSpPr>
        <p:spPr>
          <a:xfrm>
            <a:off x="5160431" y="1789448"/>
            <a:ext cx="1905573" cy="1195244"/>
          </a:xfrm>
          <a:prstGeom prst="homePlate">
            <a:avLst>
              <a:gd name="adj" fmla="val 23318"/>
            </a:avLst>
          </a:prstGeom>
          <a:noFill/>
          <a:ln w="508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C11AE2-FB5C-495C-97DE-DEE041779648}"/>
              </a:ext>
            </a:extLst>
          </p:cNvPr>
          <p:cNvSpPr txBox="1"/>
          <p:nvPr/>
        </p:nvSpPr>
        <p:spPr>
          <a:xfrm>
            <a:off x="5150597" y="2287654"/>
            <a:ext cx="17330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Document evaluation 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3" name="Flowchart: Document 12">
            <a:extLst>
              <a:ext uri="{FF2B5EF4-FFF2-40B4-BE49-F238E27FC236}">
                <a16:creationId xmlns:a16="http://schemas.microsoft.com/office/drawing/2014/main" id="{3916F6FE-8469-4F0C-BB06-F31EB028AB36}"/>
              </a:ext>
            </a:extLst>
          </p:cNvPr>
          <p:cNvSpPr/>
          <p:nvPr/>
        </p:nvSpPr>
        <p:spPr>
          <a:xfrm>
            <a:off x="5135910" y="3066037"/>
            <a:ext cx="1905573" cy="3029603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5D62AB-177E-4583-8D0B-483FE41FD972}"/>
              </a:ext>
            </a:extLst>
          </p:cNvPr>
          <p:cNvSpPr txBox="1"/>
          <p:nvPr/>
        </p:nvSpPr>
        <p:spPr>
          <a:xfrm>
            <a:off x="5266445" y="3206604"/>
            <a:ext cx="165509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Formal evaluation of manuals by the CAA </a:t>
            </a:r>
          </a:p>
          <a:p>
            <a:endParaRPr lang="en-GB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CBTA progr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MO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TP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O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CBTA manual and assessments</a:t>
            </a:r>
          </a:p>
          <a:p>
            <a:endParaRPr lang="en-GB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itchFamily="34" charset="0"/>
            </a:endParaRPr>
          </a:p>
          <a:p>
            <a:endParaRPr lang="en-GB" altLang="ko-KR" sz="1200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5" name="Pentagon 49">
            <a:extLst>
              <a:ext uri="{FF2B5EF4-FFF2-40B4-BE49-F238E27FC236}">
                <a16:creationId xmlns:a16="http://schemas.microsoft.com/office/drawing/2014/main" id="{0F14F8DA-E181-43F4-990F-3692EEFD6527}"/>
              </a:ext>
            </a:extLst>
          </p:cNvPr>
          <p:cNvSpPr/>
          <p:nvPr/>
        </p:nvSpPr>
        <p:spPr>
          <a:xfrm>
            <a:off x="7245155" y="1789448"/>
            <a:ext cx="1905573" cy="1195244"/>
          </a:xfrm>
          <a:prstGeom prst="homePlate">
            <a:avLst>
              <a:gd name="adj" fmla="val 23318"/>
            </a:avLst>
          </a:prstGeom>
          <a:noFill/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BAA043-AEBF-4C43-8DE8-18F63CCAFA87}"/>
              </a:ext>
            </a:extLst>
          </p:cNvPr>
          <p:cNvSpPr txBox="1"/>
          <p:nvPr/>
        </p:nvSpPr>
        <p:spPr>
          <a:xfrm>
            <a:off x="7399733" y="2288751"/>
            <a:ext cx="1388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Demonstration Phase</a:t>
            </a:r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9" name="Flowchart: Document 18">
            <a:extLst>
              <a:ext uri="{FF2B5EF4-FFF2-40B4-BE49-F238E27FC236}">
                <a16:creationId xmlns:a16="http://schemas.microsoft.com/office/drawing/2014/main" id="{B1FE066F-6BD0-4351-A064-B67056902499}"/>
              </a:ext>
            </a:extLst>
          </p:cNvPr>
          <p:cNvSpPr/>
          <p:nvPr/>
        </p:nvSpPr>
        <p:spPr>
          <a:xfrm>
            <a:off x="7213844" y="3066037"/>
            <a:ext cx="1905573" cy="3029603"/>
          </a:xfrm>
          <a:prstGeom prst="flowChartDocumen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38E006-7B3E-4E9D-AD25-2FCD961731D5}"/>
              </a:ext>
            </a:extLst>
          </p:cNvPr>
          <p:cNvSpPr txBox="1"/>
          <p:nvPr/>
        </p:nvSpPr>
        <p:spPr>
          <a:xfrm>
            <a:off x="7345889" y="3206604"/>
            <a:ext cx="165509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Demonstration</a:t>
            </a:r>
          </a:p>
          <a:p>
            <a:endParaRPr lang="en-GB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Audit is conducted at place (s) of operation to verify the manuals content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In case of air operator, a demo flight may be  require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21" name="Pentagon 55">
            <a:extLst>
              <a:ext uri="{FF2B5EF4-FFF2-40B4-BE49-F238E27FC236}">
                <a16:creationId xmlns:a16="http://schemas.microsoft.com/office/drawing/2014/main" id="{BC44DCE9-9E08-4DF6-8CE9-DBEB45D9EF8A}"/>
              </a:ext>
            </a:extLst>
          </p:cNvPr>
          <p:cNvSpPr/>
          <p:nvPr/>
        </p:nvSpPr>
        <p:spPr>
          <a:xfrm>
            <a:off x="9329878" y="1789448"/>
            <a:ext cx="1905573" cy="1195244"/>
          </a:xfrm>
          <a:prstGeom prst="homePlate">
            <a:avLst>
              <a:gd name="adj" fmla="val 23318"/>
            </a:avLst>
          </a:prstGeom>
          <a:noFill/>
          <a:ln w="508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7D72C7D-C4DB-4691-9E40-0A7D44D2AD31}"/>
              </a:ext>
            </a:extLst>
          </p:cNvPr>
          <p:cNvSpPr txBox="1"/>
          <p:nvPr/>
        </p:nvSpPr>
        <p:spPr>
          <a:xfrm>
            <a:off x="9438033" y="2264146"/>
            <a:ext cx="1585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ertification Phase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25" name="Flowchart: Document 24">
            <a:extLst>
              <a:ext uri="{FF2B5EF4-FFF2-40B4-BE49-F238E27FC236}">
                <a16:creationId xmlns:a16="http://schemas.microsoft.com/office/drawing/2014/main" id="{C99E8C4C-487A-4AD8-9ECA-BA62B84FB507}"/>
              </a:ext>
            </a:extLst>
          </p:cNvPr>
          <p:cNvSpPr/>
          <p:nvPr/>
        </p:nvSpPr>
        <p:spPr>
          <a:xfrm>
            <a:off x="9291779" y="3066037"/>
            <a:ext cx="1905573" cy="3029603"/>
          </a:xfrm>
          <a:prstGeom prst="flowChartDocumen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CE1B693-4858-4638-971B-B56B69EC2CDE}"/>
              </a:ext>
            </a:extLst>
          </p:cNvPr>
          <p:cNvSpPr txBox="1"/>
          <p:nvPr/>
        </p:nvSpPr>
        <p:spPr>
          <a:xfrm>
            <a:off x="9425334" y="3206604"/>
            <a:ext cx="16550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Certification </a:t>
            </a:r>
          </a:p>
          <a:p>
            <a:endParaRPr lang="en-GB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Evaluation of the entire proces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Issuance of the certificate</a:t>
            </a:r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27" name="Pentagon 61">
            <a:extLst>
              <a:ext uri="{FF2B5EF4-FFF2-40B4-BE49-F238E27FC236}">
                <a16:creationId xmlns:a16="http://schemas.microsoft.com/office/drawing/2014/main" id="{DEEA2874-8F2E-4849-98AE-D864DD0A1EB9}"/>
              </a:ext>
            </a:extLst>
          </p:cNvPr>
          <p:cNvSpPr/>
          <p:nvPr/>
        </p:nvSpPr>
        <p:spPr>
          <a:xfrm>
            <a:off x="990983" y="1789448"/>
            <a:ext cx="1905573" cy="1195244"/>
          </a:xfrm>
          <a:prstGeom prst="homePlate">
            <a:avLst>
              <a:gd name="adj" fmla="val 23318"/>
            </a:avLst>
          </a:prstGeom>
          <a:noFill/>
          <a:ln w="508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B60A89-9FC4-4807-B542-BA3830CAF096}"/>
              </a:ext>
            </a:extLst>
          </p:cNvPr>
          <p:cNvSpPr txBox="1"/>
          <p:nvPr/>
        </p:nvSpPr>
        <p:spPr>
          <a:xfrm>
            <a:off x="1296597" y="2307319"/>
            <a:ext cx="13985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Pre-Application Phase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31" name="Flowchart: Document 30">
            <a:extLst>
              <a:ext uri="{FF2B5EF4-FFF2-40B4-BE49-F238E27FC236}">
                <a16:creationId xmlns:a16="http://schemas.microsoft.com/office/drawing/2014/main" id="{8F33C71D-72CE-4784-A7E6-5D0E40893A12}"/>
              </a:ext>
            </a:extLst>
          </p:cNvPr>
          <p:cNvSpPr/>
          <p:nvPr/>
        </p:nvSpPr>
        <p:spPr>
          <a:xfrm>
            <a:off x="980042" y="3066037"/>
            <a:ext cx="1905573" cy="3029603"/>
          </a:xfrm>
          <a:prstGeom prst="flowChartDocumen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B8676D7-9DD0-44B1-8683-6710FF480D57}"/>
              </a:ext>
            </a:extLst>
          </p:cNvPr>
          <p:cNvSpPr txBox="1"/>
          <p:nvPr/>
        </p:nvSpPr>
        <p:spPr>
          <a:xfrm>
            <a:off x="1107557" y="3206604"/>
            <a:ext cx="165509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Initial discussion based on intent..</a:t>
            </a:r>
          </a:p>
          <a:p>
            <a:endParaRPr lang="en-ZA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itchFamily="34" charset="0"/>
            </a:endParaRPr>
          </a:p>
          <a:p>
            <a:r>
              <a:rPr lang="en-ZA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SACAA- gives A-Z information pack on how to do a particular approval/certification</a:t>
            </a:r>
          </a:p>
          <a:p>
            <a:endParaRPr lang="en-ZA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itchFamily="34" charset="0"/>
            </a:endParaRPr>
          </a:p>
          <a:p>
            <a:r>
              <a:rPr lang="en-ZA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itchFamily="34" charset="0"/>
              </a:rPr>
              <a:t>Explain Phase 2 -5   </a:t>
            </a:r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9C69F95-A844-82F9-A890-BC369668F329}"/>
              </a:ext>
            </a:extLst>
          </p:cNvPr>
          <p:cNvSpPr/>
          <p:nvPr/>
        </p:nvSpPr>
        <p:spPr>
          <a:xfrm>
            <a:off x="9339394" y="1809136"/>
            <a:ext cx="581355" cy="505602"/>
          </a:xfrm>
          <a:prstGeom prst="roundRect">
            <a:avLst/>
          </a:prstGeom>
          <a:solidFill>
            <a:schemeClr val="accent4"/>
          </a:solidFill>
          <a:ln w="158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9E1BCFC-8702-AC37-0CCB-400ACB57E83A}"/>
              </a:ext>
            </a:extLst>
          </p:cNvPr>
          <p:cNvSpPr/>
          <p:nvPr/>
        </p:nvSpPr>
        <p:spPr>
          <a:xfrm>
            <a:off x="991807" y="1784998"/>
            <a:ext cx="675931" cy="559236"/>
          </a:xfrm>
          <a:prstGeom prst="roundRect">
            <a:avLst/>
          </a:prstGeom>
          <a:solidFill>
            <a:schemeClr val="accent5"/>
          </a:solidFill>
          <a:ln w="158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C3D78C1-F452-E647-A7A0-2CE30576A6D0}"/>
              </a:ext>
            </a:extLst>
          </p:cNvPr>
          <p:cNvSpPr/>
          <p:nvPr/>
        </p:nvSpPr>
        <p:spPr>
          <a:xfrm>
            <a:off x="5195099" y="1779637"/>
            <a:ext cx="635431" cy="510518"/>
          </a:xfrm>
          <a:prstGeom prst="roundRect">
            <a:avLst/>
          </a:prstGeom>
          <a:solidFill>
            <a:schemeClr val="accent2"/>
          </a:solidFill>
          <a:ln w="158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4604FA3-EEED-906C-E3E5-0C3F5904D88C}"/>
              </a:ext>
            </a:extLst>
          </p:cNvPr>
          <p:cNvSpPr/>
          <p:nvPr/>
        </p:nvSpPr>
        <p:spPr>
          <a:xfrm>
            <a:off x="7235291" y="1799302"/>
            <a:ext cx="620683" cy="570271"/>
          </a:xfrm>
          <a:prstGeom prst="roundRect">
            <a:avLst/>
          </a:prstGeom>
          <a:solidFill>
            <a:schemeClr val="accent3"/>
          </a:solidFill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2A23BF4D-ADF7-8B70-15A7-AE18C22A842D}"/>
              </a:ext>
            </a:extLst>
          </p:cNvPr>
          <p:cNvSpPr/>
          <p:nvPr/>
        </p:nvSpPr>
        <p:spPr>
          <a:xfrm>
            <a:off x="3076245" y="1794831"/>
            <a:ext cx="675931" cy="559236"/>
          </a:xfrm>
          <a:prstGeom prst="roundRect">
            <a:avLst/>
          </a:prstGeom>
          <a:solidFill>
            <a:schemeClr val="accent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JM" sz="2700" dirty="0">
                <a:solidFill>
                  <a:schemeClr val="bg1"/>
                </a:solidFill>
              </a:rPr>
              <a:t>2</a:t>
            </a:r>
          </a:p>
        </p:txBody>
      </p:sp>
      <p:pic>
        <p:nvPicPr>
          <p:cNvPr id="4" name="Picture 3" descr="dang ppt cont bot.png">
            <a:extLst>
              <a:ext uri="{FF2B5EF4-FFF2-40B4-BE49-F238E27FC236}">
                <a16:creationId xmlns:a16="http://schemas.microsoft.com/office/drawing/2014/main" id="{CEEA13BA-5DF5-2844-9383-DC77EB757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67079"/>
            <a:ext cx="12192000" cy="690921"/>
          </a:xfrm>
          <a:prstGeom prst="rect">
            <a:avLst/>
          </a:prstGeom>
        </p:spPr>
      </p:pic>
      <p:pic>
        <p:nvPicPr>
          <p:cNvPr id="6" name="Picture 5" descr="dang ppt cont top 2.png">
            <a:extLst>
              <a:ext uri="{FF2B5EF4-FFF2-40B4-BE49-F238E27FC236}">
                <a16:creationId xmlns:a16="http://schemas.microsoft.com/office/drawing/2014/main" id="{D5E909F1-4391-A7A4-DCE2-ED294E8D91D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8215" y="158993"/>
            <a:ext cx="990600" cy="114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890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35F7F3-C1B5-4B60-A00A-4EB618DDFB5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615950"/>
            <a:ext cx="11572875" cy="7239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alt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	</a:t>
            </a:r>
            <a:r>
              <a:rPr lang="en-ZA" altLang="en-US" sz="3600" b="1" kern="12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rPr>
              <a:t>	P92 </a:t>
            </a:r>
            <a:r>
              <a:rPr kumimoji="0" lang="en-ZA" alt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Regulation structure</a:t>
            </a:r>
            <a:endParaRPr kumimoji="0" lang="en-ZA" sz="5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 panose="020F0302020204030204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ZA" alt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  <a:p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075F731-8EC2-45F5-AB53-9C43A54ACEFD}"/>
              </a:ext>
            </a:extLst>
          </p:cNvPr>
          <p:cNvGrpSpPr/>
          <p:nvPr/>
        </p:nvGrpSpPr>
        <p:grpSpPr>
          <a:xfrm>
            <a:off x="4506280" y="1724025"/>
            <a:ext cx="3179442" cy="4526856"/>
            <a:chOff x="348360" y="1332374"/>
            <a:chExt cx="2545698" cy="369087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55DDA86-7877-4844-ACF4-638691F40972}"/>
                </a:ext>
              </a:extLst>
            </p:cNvPr>
            <p:cNvGrpSpPr/>
            <p:nvPr/>
          </p:nvGrpSpPr>
          <p:grpSpPr>
            <a:xfrm>
              <a:off x="348360" y="4335070"/>
              <a:ext cx="2545698" cy="688177"/>
              <a:chOff x="348360" y="4335070"/>
              <a:chExt cx="2545698" cy="688177"/>
            </a:xfrm>
          </p:grpSpPr>
          <p:sp>
            <p:nvSpPr>
              <p:cNvPr id="10" name="Rectangle 7">
                <a:extLst>
                  <a:ext uri="{FF2B5EF4-FFF2-40B4-BE49-F238E27FC236}">
                    <a16:creationId xmlns:a16="http://schemas.microsoft.com/office/drawing/2014/main" id="{0F34FC23-4635-40C8-AFC5-94EF0158CBCD}"/>
                  </a:ext>
                </a:extLst>
              </p:cNvPr>
              <p:cNvSpPr/>
              <p:nvPr/>
            </p:nvSpPr>
            <p:spPr>
              <a:xfrm rot="358729">
                <a:off x="348360" y="4422214"/>
                <a:ext cx="2379133" cy="601033"/>
              </a:xfrm>
              <a:custGeom>
                <a:avLst/>
                <a:gdLst>
                  <a:gd name="connsiteX0" fmla="*/ 0 w 1546076"/>
                  <a:gd name="connsiteY0" fmla="*/ 0 h 547777"/>
                  <a:gd name="connsiteX1" fmla="*/ 1546076 w 1546076"/>
                  <a:gd name="connsiteY1" fmla="*/ 0 h 547777"/>
                  <a:gd name="connsiteX2" fmla="*/ 1546076 w 1546076"/>
                  <a:gd name="connsiteY2" fmla="*/ 547777 h 547777"/>
                  <a:gd name="connsiteX3" fmla="*/ 0 w 1546076"/>
                  <a:gd name="connsiteY3" fmla="*/ 547777 h 547777"/>
                  <a:gd name="connsiteX4" fmla="*/ 0 w 1546076"/>
                  <a:gd name="connsiteY4" fmla="*/ 0 h 547777"/>
                  <a:gd name="connsiteX0" fmla="*/ 0 w 1546076"/>
                  <a:gd name="connsiteY0" fmla="*/ 0 h 547777"/>
                  <a:gd name="connsiteX1" fmla="*/ 1546076 w 1546076"/>
                  <a:gd name="connsiteY1" fmla="*/ 0 h 547777"/>
                  <a:gd name="connsiteX2" fmla="*/ 1300823 w 1546076"/>
                  <a:gd name="connsiteY2" fmla="*/ 473861 h 547777"/>
                  <a:gd name="connsiteX3" fmla="*/ 0 w 1546076"/>
                  <a:gd name="connsiteY3" fmla="*/ 547777 h 547777"/>
                  <a:gd name="connsiteX4" fmla="*/ 0 w 1546076"/>
                  <a:gd name="connsiteY4" fmla="*/ 0 h 547777"/>
                  <a:gd name="connsiteX0" fmla="*/ 311437 w 1546076"/>
                  <a:gd name="connsiteY0" fmla="*/ 120616 h 547777"/>
                  <a:gd name="connsiteX1" fmla="*/ 1546076 w 1546076"/>
                  <a:gd name="connsiteY1" fmla="*/ 0 h 547777"/>
                  <a:gd name="connsiteX2" fmla="*/ 1300823 w 1546076"/>
                  <a:gd name="connsiteY2" fmla="*/ 473861 h 547777"/>
                  <a:gd name="connsiteX3" fmla="*/ 0 w 1546076"/>
                  <a:gd name="connsiteY3" fmla="*/ 547777 h 547777"/>
                  <a:gd name="connsiteX4" fmla="*/ 311437 w 1546076"/>
                  <a:gd name="connsiteY4" fmla="*/ 120616 h 547777"/>
                  <a:gd name="connsiteX0" fmla="*/ 454636 w 1546076"/>
                  <a:gd name="connsiteY0" fmla="*/ 97957 h 547777"/>
                  <a:gd name="connsiteX1" fmla="*/ 1546076 w 1546076"/>
                  <a:gd name="connsiteY1" fmla="*/ 0 h 547777"/>
                  <a:gd name="connsiteX2" fmla="*/ 1300823 w 1546076"/>
                  <a:gd name="connsiteY2" fmla="*/ 473861 h 547777"/>
                  <a:gd name="connsiteX3" fmla="*/ 0 w 1546076"/>
                  <a:gd name="connsiteY3" fmla="*/ 547777 h 547777"/>
                  <a:gd name="connsiteX4" fmla="*/ 454636 w 1546076"/>
                  <a:gd name="connsiteY4" fmla="*/ 97957 h 547777"/>
                  <a:gd name="connsiteX0" fmla="*/ 454636 w 1714392"/>
                  <a:gd name="connsiteY0" fmla="*/ 100262 h 550082"/>
                  <a:gd name="connsiteX1" fmla="*/ 1714392 w 1714392"/>
                  <a:gd name="connsiteY1" fmla="*/ 0 h 550082"/>
                  <a:gd name="connsiteX2" fmla="*/ 1300823 w 1714392"/>
                  <a:gd name="connsiteY2" fmla="*/ 476166 h 550082"/>
                  <a:gd name="connsiteX3" fmla="*/ 0 w 1714392"/>
                  <a:gd name="connsiteY3" fmla="*/ 550082 h 550082"/>
                  <a:gd name="connsiteX4" fmla="*/ 454636 w 1714392"/>
                  <a:gd name="connsiteY4" fmla="*/ 100262 h 550082"/>
                  <a:gd name="connsiteX0" fmla="*/ 454636 w 1908260"/>
                  <a:gd name="connsiteY0" fmla="*/ 151213 h 601033"/>
                  <a:gd name="connsiteX1" fmla="*/ 1908260 w 1908260"/>
                  <a:gd name="connsiteY1" fmla="*/ 0 h 601033"/>
                  <a:gd name="connsiteX2" fmla="*/ 1300823 w 1908260"/>
                  <a:gd name="connsiteY2" fmla="*/ 527117 h 601033"/>
                  <a:gd name="connsiteX3" fmla="*/ 0 w 1908260"/>
                  <a:gd name="connsiteY3" fmla="*/ 601033 h 601033"/>
                  <a:gd name="connsiteX4" fmla="*/ 454636 w 1908260"/>
                  <a:gd name="connsiteY4" fmla="*/ 151213 h 601033"/>
                  <a:gd name="connsiteX0" fmla="*/ 675642 w 1908260"/>
                  <a:gd name="connsiteY0" fmla="*/ 66773 h 601033"/>
                  <a:gd name="connsiteX1" fmla="*/ 1908260 w 1908260"/>
                  <a:gd name="connsiteY1" fmla="*/ 0 h 601033"/>
                  <a:gd name="connsiteX2" fmla="*/ 1300823 w 1908260"/>
                  <a:gd name="connsiteY2" fmla="*/ 527117 h 601033"/>
                  <a:gd name="connsiteX3" fmla="*/ 0 w 1908260"/>
                  <a:gd name="connsiteY3" fmla="*/ 601033 h 601033"/>
                  <a:gd name="connsiteX4" fmla="*/ 675642 w 1908260"/>
                  <a:gd name="connsiteY4" fmla="*/ 66773 h 601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8260" h="601033">
                    <a:moveTo>
                      <a:pt x="675642" y="66773"/>
                    </a:moveTo>
                    <a:lnTo>
                      <a:pt x="1908260" y="0"/>
                    </a:lnTo>
                    <a:lnTo>
                      <a:pt x="1300823" y="527117"/>
                    </a:lnTo>
                    <a:lnTo>
                      <a:pt x="0" y="601033"/>
                    </a:lnTo>
                    <a:lnTo>
                      <a:pt x="675642" y="66773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softEdge rad="1524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1" name="Rectangle 7">
                <a:extLst>
                  <a:ext uri="{FF2B5EF4-FFF2-40B4-BE49-F238E27FC236}">
                    <a16:creationId xmlns:a16="http://schemas.microsoft.com/office/drawing/2014/main" id="{3ECCAD27-99CA-4072-8D2B-8C43FA3B4B47}"/>
                  </a:ext>
                </a:extLst>
              </p:cNvPr>
              <p:cNvSpPr/>
              <p:nvPr/>
            </p:nvSpPr>
            <p:spPr>
              <a:xfrm rot="358729">
                <a:off x="809437" y="4335070"/>
                <a:ext cx="2084621" cy="526631"/>
              </a:xfrm>
              <a:custGeom>
                <a:avLst/>
                <a:gdLst>
                  <a:gd name="connsiteX0" fmla="*/ 0 w 1546076"/>
                  <a:gd name="connsiteY0" fmla="*/ 0 h 547777"/>
                  <a:gd name="connsiteX1" fmla="*/ 1546076 w 1546076"/>
                  <a:gd name="connsiteY1" fmla="*/ 0 h 547777"/>
                  <a:gd name="connsiteX2" fmla="*/ 1546076 w 1546076"/>
                  <a:gd name="connsiteY2" fmla="*/ 547777 h 547777"/>
                  <a:gd name="connsiteX3" fmla="*/ 0 w 1546076"/>
                  <a:gd name="connsiteY3" fmla="*/ 547777 h 547777"/>
                  <a:gd name="connsiteX4" fmla="*/ 0 w 1546076"/>
                  <a:gd name="connsiteY4" fmla="*/ 0 h 547777"/>
                  <a:gd name="connsiteX0" fmla="*/ 0 w 1546076"/>
                  <a:gd name="connsiteY0" fmla="*/ 0 h 547777"/>
                  <a:gd name="connsiteX1" fmla="*/ 1546076 w 1546076"/>
                  <a:gd name="connsiteY1" fmla="*/ 0 h 547777"/>
                  <a:gd name="connsiteX2" fmla="*/ 1300823 w 1546076"/>
                  <a:gd name="connsiteY2" fmla="*/ 473861 h 547777"/>
                  <a:gd name="connsiteX3" fmla="*/ 0 w 1546076"/>
                  <a:gd name="connsiteY3" fmla="*/ 547777 h 547777"/>
                  <a:gd name="connsiteX4" fmla="*/ 0 w 1546076"/>
                  <a:gd name="connsiteY4" fmla="*/ 0 h 547777"/>
                  <a:gd name="connsiteX0" fmla="*/ 311437 w 1546076"/>
                  <a:gd name="connsiteY0" fmla="*/ 120616 h 547777"/>
                  <a:gd name="connsiteX1" fmla="*/ 1546076 w 1546076"/>
                  <a:gd name="connsiteY1" fmla="*/ 0 h 547777"/>
                  <a:gd name="connsiteX2" fmla="*/ 1300823 w 1546076"/>
                  <a:gd name="connsiteY2" fmla="*/ 473861 h 547777"/>
                  <a:gd name="connsiteX3" fmla="*/ 0 w 1546076"/>
                  <a:gd name="connsiteY3" fmla="*/ 547777 h 547777"/>
                  <a:gd name="connsiteX4" fmla="*/ 311437 w 1546076"/>
                  <a:gd name="connsiteY4" fmla="*/ 120616 h 547777"/>
                  <a:gd name="connsiteX0" fmla="*/ 454636 w 1546076"/>
                  <a:gd name="connsiteY0" fmla="*/ 97957 h 547777"/>
                  <a:gd name="connsiteX1" fmla="*/ 1546076 w 1546076"/>
                  <a:gd name="connsiteY1" fmla="*/ 0 h 547777"/>
                  <a:gd name="connsiteX2" fmla="*/ 1300823 w 1546076"/>
                  <a:gd name="connsiteY2" fmla="*/ 473861 h 547777"/>
                  <a:gd name="connsiteX3" fmla="*/ 0 w 1546076"/>
                  <a:gd name="connsiteY3" fmla="*/ 547777 h 547777"/>
                  <a:gd name="connsiteX4" fmla="*/ 454636 w 1546076"/>
                  <a:gd name="connsiteY4" fmla="*/ 97957 h 547777"/>
                  <a:gd name="connsiteX0" fmla="*/ 454636 w 1714392"/>
                  <a:gd name="connsiteY0" fmla="*/ 100262 h 550082"/>
                  <a:gd name="connsiteX1" fmla="*/ 1714392 w 1714392"/>
                  <a:gd name="connsiteY1" fmla="*/ 0 h 550082"/>
                  <a:gd name="connsiteX2" fmla="*/ 1300823 w 1714392"/>
                  <a:gd name="connsiteY2" fmla="*/ 476166 h 550082"/>
                  <a:gd name="connsiteX3" fmla="*/ 0 w 1714392"/>
                  <a:gd name="connsiteY3" fmla="*/ 550082 h 550082"/>
                  <a:gd name="connsiteX4" fmla="*/ 454636 w 1714392"/>
                  <a:gd name="connsiteY4" fmla="*/ 100262 h 550082"/>
                  <a:gd name="connsiteX0" fmla="*/ 454636 w 1908260"/>
                  <a:gd name="connsiteY0" fmla="*/ 151213 h 601033"/>
                  <a:gd name="connsiteX1" fmla="*/ 1908260 w 1908260"/>
                  <a:gd name="connsiteY1" fmla="*/ 0 h 601033"/>
                  <a:gd name="connsiteX2" fmla="*/ 1300823 w 1908260"/>
                  <a:gd name="connsiteY2" fmla="*/ 527117 h 601033"/>
                  <a:gd name="connsiteX3" fmla="*/ 0 w 1908260"/>
                  <a:gd name="connsiteY3" fmla="*/ 601033 h 601033"/>
                  <a:gd name="connsiteX4" fmla="*/ 454636 w 1908260"/>
                  <a:gd name="connsiteY4" fmla="*/ 151213 h 601033"/>
                  <a:gd name="connsiteX0" fmla="*/ 675642 w 1908260"/>
                  <a:gd name="connsiteY0" fmla="*/ 66773 h 601033"/>
                  <a:gd name="connsiteX1" fmla="*/ 1908260 w 1908260"/>
                  <a:gd name="connsiteY1" fmla="*/ 0 h 601033"/>
                  <a:gd name="connsiteX2" fmla="*/ 1300823 w 1908260"/>
                  <a:gd name="connsiteY2" fmla="*/ 527117 h 601033"/>
                  <a:gd name="connsiteX3" fmla="*/ 0 w 1908260"/>
                  <a:gd name="connsiteY3" fmla="*/ 601033 h 601033"/>
                  <a:gd name="connsiteX4" fmla="*/ 675642 w 1908260"/>
                  <a:gd name="connsiteY4" fmla="*/ 66773 h 601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8260" h="601033">
                    <a:moveTo>
                      <a:pt x="675642" y="66773"/>
                    </a:moveTo>
                    <a:lnTo>
                      <a:pt x="1908260" y="0"/>
                    </a:lnTo>
                    <a:lnTo>
                      <a:pt x="1300823" y="527117"/>
                    </a:lnTo>
                    <a:lnTo>
                      <a:pt x="0" y="601033"/>
                    </a:lnTo>
                    <a:lnTo>
                      <a:pt x="675642" y="66773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softEdge rad="1524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86C6F74-8E05-40C1-A142-F8EFE2C379A2}"/>
                </a:ext>
              </a:extLst>
            </p:cNvPr>
            <p:cNvGrpSpPr/>
            <p:nvPr/>
          </p:nvGrpSpPr>
          <p:grpSpPr>
            <a:xfrm>
              <a:off x="933500" y="1332374"/>
              <a:ext cx="1262236" cy="3479244"/>
              <a:chOff x="1619672" y="1332374"/>
              <a:chExt cx="1262236" cy="3479244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F2492343-A84D-4502-8C0A-C2D199B17873}"/>
                  </a:ext>
                </a:extLst>
              </p:cNvPr>
              <p:cNvSpPr/>
              <p:nvPr/>
            </p:nvSpPr>
            <p:spPr>
              <a:xfrm>
                <a:off x="1691680" y="3947522"/>
                <a:ext cx="864096" cy="86409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scene3d>
                <a:camera prst="perspectiveRight">
                  <a:rot lat="598412" lon="1237643" rev="0"/>
                </a:camera>
                <a:lightRig rig="threePt" dir="t"/>
              </a:scene3d>
              <a:sp3d extrusionH="819150" prstMaterial="flat">
                <a:bevelT w="44450" h="25400"/>
                <a:extrusionClr>
                  <a:schemeClr val="accent1"/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5400" b="1" i="0" u="none" strike="noStrike" kern="1200" cap="none" spc="50" normalizeH="0" baseline="0" noProof="0" dirty="0">
                    <a:ln w="13500">
                      <a:solidFill>
                        <a:srgbClr val="196491">
                          <a:shade val="2500"/>
                          <a:alpha val="6500"/>
                        </a:srgbClr>
                      </a:solidFill>
                      <a:prstDash val="solid"/>
                    </a:ln>
                    <a:solidFill>
                      <a:prstClr val="white"/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  <a:uLnTx/>
                    <a:uFillTx/>
                    <a:latin typeface="Arial"/>
                    <a:cs typeface="Arial" pitchFamily="34" charset="0"/>
                  </a:rPr>
                  <a:t>4</a:t>
                </a:r>
                <a:endParaRPr kumimoji="0" lang="ko-KR" altLang="en-US" sz="5400" b="1" i="0" u="none" strike="noStrike" kern="1200" cap="none" spc="50" normalizeH="0" baseline="0" noProof="0" dirty="0">
                  <a:ln w="13500">
                    <a:solidFill>
                      <a:srgbClr val="196491">
                        <a:shade val="2500"/>
                        <a:alpha val="6500"/>
                      </a:srgbClr>
                    </a:solidFill>
                    <a:prstDash val="solid"/>
                  </a:ln>
                  <a:solidFill>
                    <a:prstClr val="white"/>
                  </a:solidFill>
                  <a:effectLst>
                    <a:innerShdw blurRad="50900" dist="38500" dir="13500000">
                      <a:srgbClr val="000000">
                        <a:alpha val="60000"/>
                      </a:srgbClr>
                    </a:innerShdw>
                  </a:effectLst>
                  <a:uLnTx/>
                  <a:uFillTx/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66452E81-FFB4-43B9-B01E-C89340506D8C}"/>
                  </a:ext>
                </a:extLst>
              </p:cNvPr>
              <p:cNvSpPr/>
              <p:nvPr/>
            </p:nvSpPr>
            <p:spPr>
              <a:xfrm>
                <a:off x="2017812" y="3077696"/>
                <a:ext cx="864096" cy="86409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scene3d>
                <a:camera prst="perspectiveRight">
                  <a:rot lat="300000" lon="20699968" rev="0"/>
                </a:camera>
                <a:lightRig rig="threePt" dir="t"/>
              </a:scene3d>
              <a:sp3d extrusionH="819150" prstMaterial="flat">
                <a:bevelT w="44450" h="44450"/>
                <a:extrusionClr>
                  <a:schemeClr val="accent2"/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5400" b="1" i="0" u="none" strike="noStrike" kern="1200" cap="none" spc="50" normalizeH="0" baseline="0" noProof="0" dirty="0">
                    <a:ln w="13500">
                      <a:solidFill>
                        <a:srgbClr val="196491">
                          <a:shade val="2500"/>
                          <a:alpha val="6500"/>
                        </a:srgbClr>
                      </a:solidFill>
                      <a:prstDash val="solid"/>
                    </a:ln>
                    <a:solidFill>
                      <a:prstClr val="white"/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  <a:uLnTx/>
                    <a:uFillTx/>
                    <a:latin typeface="Arial"/>
                    <a:cs typeface="Arial" pitchFamily="34" charset="0"/>
                  </a:rPr>
                  <a:t>3</a:t>
                </a:r>
                <a:endParaRPr kumimoji="0" lang="ko-KR" altLang="en-US" sz="5400" b="1" i="0" u="none" strike="noStrike" kern="1200" cap="none" spc="50" normalizeH="0" baseline="0" noProof="0" dirty="0">
                  <a:ln w="13500">
                    <a:solidFill>
                      <a:srgbClr val="196491">
                        <a:shade val="2500"/>
                        <a:alpha val="6500"/>
                      </a:srgbClr>
                    </a:solidFill>
                    <a:prstDash val="solid"/>
                  </a:ln>
                  <a:solidFill>
                    <a:prstClr val="white"/>
                  </a:solidFill>
                  <a:effectLst>
                    <a:innerShdw blurRad="50900" dist="38500" dir="13500000">
                      <a:srgbClr val="000000">
                        <a:alpha val="60000"/>
                      </a:srgbClr>
                    </a:innerShdw>
                  </a:effectLst>
                  <a:uLnTx/>
                  <a:uFillTx/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818D9906-A1BC-4EF6-8ED4-26637D9E951F}"/>
                  </a:ext>
                </a:extLst>
              </p:cNvPr>
              <p:cNvSpPr/>
              <p:nvPr/>
            </p:nvSpPr>
            <p:spPr>
              <a:xfrm>
                <a:off x="1979712" y="1332374"/>
                <a:ext cx="864096" cy="86409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scene3d>
                <a:camera prst="perspectiveRight">
                  <a:rot lat="21299999" lon="20699968" rev="0"/>
                </a:camera>
                <a:lightRig rig="threePt" dir="t"/>
              </a:scene3d>
              <a:sp3d extrusionH="819150" prstMaterial="flat">
                <a:bevelT w="63500" h="31750"/>
                <a:extrusionClr>
                  <a:schemeClr val="accent4"/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5400" b="1" i="0" u="none" strike="noStrike" kern="1200" cap="none" spc="50" normalizeH="0" baseline="0" noProof="0" dirty="0">
                    <a:ln w="13500">
                      <a:solidFill>
                        <a:srgbClr val="196491">
                          <a:shade val="2500"/>
                          <a:alpha val="6500"/>
                        </a:srgbClr>
                      </a:solidFill>
                      <a:prstDash val="solid"/>
                    </a:ln>
                    <a:solidFill>
                      <a:prstClr val="white"/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  <a:uLnTx/>
                    <a:uFillTx/>
                    <a:latin typeface="Arial"/>
                    <a:cs typeface="Arial" pitchFamily="34" charset="0"/>
                  </a:rPr>
                  <a:t>1</a:t>
                </a:r>
                <a:endParaRPr kumimoji="0" lang="ko-KR" altLang="en-US" sz="5400" b="1" i="0" u="none" strike="noStrike" kern="1200" cap="none" spc="50" normalizeH="0" baseline="0" noProof="0" dirty="0">
                  <a:ln w="13500">
                    <a:solidFill>
                      <a:srgbClr val="196491">
                        <a:shade val="2500"/>
                        <a:alpha val="6500"/>
                      </a:srgbClr>
                    </a:solidFill>
                    <a:prstDash val="solid"/>
                  </a:ln>
                  <a:solidFill>
                    <a:prstClr val="white"/>
                  </a:solidFill>
                  <a:effectLst>
                    <a:innerShdw blurRad="50900" dist="38500" dir="13500000">
                      <a:srgbClr val="000000">
                        <a:alpha val="60000"/>
                      </a:srgbClr>
                    </a:innerShdw>
                  </a:effectLst>
                  <a:uLnTx/>
                  <a:uFillTx/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2A6F91F4-0009-43F9-B027-5230B3513B02}"/>
                  </a:ext>
                </a:extLst>
              </p:cNvPr>
              <p:cNvSpPr/>
              <p:nvPr/>
            </p:nvSpPr>
            <p:spPr>
              <a:xfrm>
                <a:off x="1619672" y="2211710"/>
                <a:ext cx="864096" cy="8640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scene3d>
                <a:camera prst="perspectiveRight">
                  <a:rot lat="0" lon="1499958" rev="0"/>
                </a:camera>
                <a:lightRig rig="threePt" dir="t"/>
              </a:scene3d>
              <a:sp3d extrusionH="819150" prstMaterial="flat">
                <a:bevelT w="38100" h="44450"/>
                <a:extrusionClr>
                  <a:schemeClr val="accent3"/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5400" b="1" i="0" u="none" strike="noStrike" kern="1200" cap="none" spc="50" normalizeH="0" baseline="0" noProof="0" dirty="0">
                    <a:ln w="13500">
                      <a:solidFill>
                        <a:srgbClr val="196491">
                          <a:shade val="2500"/>
                          <a:alpha val="6500"/>
                        </a:srgbClr>
                      </a:solidFill>
                      <a:prstDash val="solid"/>
                    </a:ln>
                    <a:solidFill>
                      <a:prstClr val="white"/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  <a:uLnTx/>
                    <a:uFillTx/>
                    <a:latin typeface="Arial"/>
                    <a:cs typeface="Arial" pitchFamily="34" charset="0"/>
                  </a:rPr>
                  <a:t>2</a:t>
                </a:r>
                <a:endParaRPr kumimoji="0" lang="ko-KR" altLang="en-US" sz="5400" b="1" i="0" u="none" strike="noStrike" kern="1200" cap="none" spc="50" normalizeH="0" baseline="0" noProof="0" dirty="0">
                  <a:ln w="13500">
                    <a:solidFill>
                      <a:srgbClr val="196491">
                        <a:shade val="2500"/>
                        <a:alpha val="6500"/>
                      </a:srgbClr>
                    </a:solidFill>
                    <a:prstDash val="solid"/>
                  </a:ln>
                  <a:solidFill>
                    <a:prstClr val="white"/>
                  </a:solidFill>
                  <a:effectLst>
                    <a:innerShdw blurRad="50900" dist="38500" dir="13500000">
                      <a:srgbClr val="000000">
                        <a:alpha val="60000"/>
                      </a:srgbClr>
                    </a:innerShdw>
                  </a:effectLst>
                  <a:uLnTx/>
                  <a:uFillTx/>
                  <a:latin typeface="Arial"/>
                  <a:cs typeface="Arial" pitchFamily="34" charset="0"/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17BE7FB-5F42-4423-AB3F-DB94DCC93A54}"/>
              </a:ext>
            </a:extLst>
          </p:cNvPr>
          <p:cNvGrpSpPr/>
          <p:nvPr/>
        </p:nvGrpSpPr>
        <p:grpSpPr>
          <a:xfrm>
            <a:off x="7796196" y="1770693"/>
            <a:ext cx="3614754" cy="988712"/>
            <a:chOff x="6211235" y="1628800"/>
            <a:chExt cx="2609237" cy="98871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00501CE-F59B-4B74-8716-64FB0830D4F1}"/>
                </a:ext>
              </a:extLst>
            </p:cNvPr>
            <p:cNvSpPr txBox="1"/>
            <p:nvPr/>
          </p:nvSpPr>
          <p:spPr>
            <a:xfrm>
              <a:off x="6214186" y="1628800"/>
              <a:ext cx="26062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SUBPART 1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4484BC5-1D9B-45D7-8E5B-0B08222B5C8F}"/>
                </a:ext>
              </a:extLst>
            </p:cNvPr>
            <p:cNvSpPr txBox="1"/>
            <p:nvPr/>
          </p:nvSpPr>
          <p:spPr>
            <a:xfrm>
              <a:off x="6211235" y="1971181"/>
              <a:ext cx="260923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Subpart 1 deals with the operational requirements of the old Part 92 excluding the Training requirements.  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5" name="그룹 11">
            <a:extLst>
              <a:ext uri="{FF2B5EF4-FFF2-40B4-BE49-F238E27FC236}">
                <a16:creationId xmlns:a16="http://schemas.microsoft.com/office/drawing/2014/main" id="{F1519891-3B28-4F49-891E-2DCCE19CCF53}"/>
              </a:ext>
            </a:extLst>
          </p:cNvPr>
          <p:cNvGrpSpPr/>
          <p:nvPr/>
        </p:nvGrpSpPr>
        <p:grpSpPr>
          <a:xfrm>
            <a:off x="7796196" y="3909266"/>
            <a:ext cx="3614754" cy="988712"/>
            <a:chOff x="7719995" y="3745651"/>
            <a:chExt cx="3614754" cy="988712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A16F450-743D-4E8F-BA13-DB9FA12BE214}"/>
                </a:ext>
              </a:extLst>
            </p:cNvPr>
            <p:cNvSpPr txBox="1"/>
            <p:nvPr/>
          </p:nvSpPr>
          <p:spPr>
            <a:xfrm>
              <a:off x="7719995" y="3745651"/>
              <a:ext cx="361475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/>
                  <a:cs typeface="Arial" pitchFamily="34" charset="0"/>
                </a:rPr>
                <a:t>SUBPART 3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6642972-61A5-40B8-B6F7-F0F85ACE90E7}"/>
                </a:ext>
              </a:extLst>
            </p:cNvPr>
            <p:cNvSpPr txBox="1"/>
            <p:nvPr/>
          </p:nvSpPr>
          <p:spPr>
            <a:xfrm>
              <a:off x="7719995" y="4088032"/>
              <a:ext cx="361475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Subpart 3 </a:t>
              </a:r>
              <a:r>
                <a:rPr lang="en-US" altLang="ko-KR" sz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/>
                  <a:cs typeface="Arial" pitchFamily="34" charset="0"/>
                </a:rPr>
                <a:t>deals with approval of an aviation Training organisation to train dangerous goods in line with Part 141 and Part 109  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.  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30EC35D-6A62-4D98-A9EE-9958AB285C3B}"/>
              </a:ext>
            </a:extLst>
          </p:cNvPr>
          <p:cNvGrpSpPr/>
          <p:nvPr/>
        </p:nvGrpSpPr>
        <p:grpSpPr>
          <a:xfrm>
            <a:off x="684338" y="2839979"/>
            <a:ext cx="3614754" cy="988712"/>
            <a:chOff x="194751" y="2772288"/>
            <a:chExt cx="2609237" cy="988712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EC88349-21CC-459E-8BE7-83093731EF76}"/>
                </a:ext>
              </a:extLst>
            </p:cNvPr>
            <p:cNvSpPr txBox="1"/>
            <p:nvPr/>
          </p:nvSpPr>
          <p:spPr>
            <a:xfrm>
              <a:off x="197702" y="2772288"/>
              <a:ext cx="26062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SUBPART 2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6032319-31F0-4EDE-AD5D-317491DAAF3B}"/>
                </a:ext>
              </a:extLst>
            </p:cNvPr>
            <p:cNvSpPr txBox="1"/>
            <p:nvPr/>
          </p:nvSpPr>
          <p:spPr>
            <a:xfrm>
              <a:off x="194751" y="3114669"/>
              <a:ext cx="260923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Subpart 2 deals with training  requirements in line with the Competency Based training and assessments for Dangerous Goods (CBTA) 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DBEF96E-02F1-4080-8F32-6CCA493E11C0}"/>
              </a:ext>
            </a:extLst>
          </p:cNvPr>
          <p:cNvGrpSpPr/>
          <p:nvPr/>
        </p:nvGrpSpPr>
        <p:grpSpPr>
          <a:xfrm>
            <a:off x="684338" y="4978554"/>
            <a:ext cx="3614754" cy="804046"/>
            <a:chOff x="179512" y="5029814"/>
            <a:chExt cx="2609237" cy="804046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7A0039-1297-465D-9F9C-6B9947EDBB6C}"/>
                </a:ext>
              </a:extLst>
            </p:cNvPr>
            <p:cNvSpPr txBox="1"/>
            <p:nvPr/>
          </p:nvSpPr>
          <p:spPr>
            <a:xfrm>
              <a:off x="182463" y="5029814"/>
              <a:ext cx="26062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SUBPART 4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890E220-12EA-4884-9DCD-D3B6B958C71A}"/>
                </a:ext>
              </a:extLst>
            </p:cNvPr>
            <p:cNvSpPr txBox="1"/>
            <p:nvPr/>
          </p:nvSpPr>
          <p:spPr>
            <a:xfrm>
              <a:off x="179512" y="5372195"/>
              <a:ext cx="260923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Subpart 4 deals with dangerous goods instructor requirements and accreditation. 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698B9A98-F939-4039-91DF-5A469919B51F}"/>
              </a:ext>
            </a:extLst>
          </p:cNvPr>
          <p:cNvSpPr/>
          <p:nvPr/>
        </p:nvSpPr>
        <p:spPr>
          <a:xfrm>
            <a:off x="7556208" y="1726831"/>
            <a:ext cx="122258" cy="1076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EFD7377-94C0-48B4-8695-905A77ABFCE8}"/>
              </a:ext>
            </a:extLst>
          </p:cNvPr>
          <p:cNvSpPr/>
          <p:nvPr/>
        </p:nvSpPr>
        <p:spPr>
          <a:xfrm>
            <a:off x="7556208" y="3865405"/>
            <a:ext cx="122258" cy="10764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56133ED-80A7-47F3-B757-3994D5B9B382}"/>
              </a:ext>
            </a:extLst>
          </p:cNvPr>
          <p:cNvSpPr/>
          <p:nvPr/>
        </p:nvSpPr>
        <p:spPr>
          <a:xfrm>
            <a:off x="4389566" y="2796118"/>
            <a:ext cx="122258" cy="10764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52B5F08-D52E-4C06-8C3A-36C165F6F562}"/>
              </a:ext>
            </a:extLst>
          </p:cNvPr>
          <p:cNvSpPr/>
          <p:nvPr/>
        </p:nvSpPr>
        <p:spPr>
          <a:xfrm>
            <a:off x="4389566" y="4934693"/>
            <a:ext cx="122258" cy="1076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8" name="Chevron 13">
            <a:extLst>
              <a:ext uri="{FF2B5EF4-FFF2-40B4-BE49-F238E27FC236}">
                <a16:creationId xmlns:a16="http://schemas.microsoft.com/office/drawing/2014/main" id="{FF3CC57E-7A14-4F0D-98C9-96410547EB2D}"/>
              </a:ext>
            </a:extLst>
          </p:cNvPr>
          <p:cNvSpPr/>
          <p:nvPr/>
        </p:nvSpPr>
        <p:spPr>
          <a:xfrm>
            <a:off x="7051313" y="2069993"/>
            <a:ext cx="292585" cy="390113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9" name="Chevron 78">
            <a:extLst>
              <a:ext uri="{FF2B5EF4-FFF2-40B4-BE49-F238E27FC236}">
                <a16:creationId xmlns:a16="http://schemas.microsoft.com/office/drawing/2014/main" id="{4C143442-8524-4A37-8712-0E5B4587462A}"/>
              </a:ext>
            </a:extLst>
          </p:cNvPr>
          <p:cNvSpPr/>
          <p:nvPr/>
        </p:nvSpPr>
        <p:spPr>
          <a:xfrm>
            <a:off x="7051313" y="4208567"/>
            <a:ext cx="292585" cy="390113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0" name="Chevron 79">
            <a:extLst>
              <a:ext uri="{FF2B5EF4-FFF2-40B4-BE49-F238E27FC236}">
                <a16:creationId xmlns:a16="http://schemas.microsoft.com/office/drawing/2014/main" id="{05F8E9DA-8BB5-4F8C-8845-96B38E7C2273}"/>
              </a:ext>
            </a:extLst>
          </p:cNvPr>
          <p:cNvSpPr/>
          <p:nvPr/>
        </p:nvSpPr>
        <p:spPr>
          <a:xfrm rot="10800000">
            <a:off x="4743250" y="3139280"/>
            <a:ext cx="292585" cy="390113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1" name="Chevron 80">
            <a:extLst>
              <a:ext uri="{FF2B5EF4-FFF2-40B4-BE49-F238E27FC236}">
                <a16:creationId xmlns:a16="http://schemas.microsoft.com/office/drawing/2014/main" id="{9D6D445C-66BC-41D3-944B-B3E3E6F30150}"/>
              </a:ext>
            </a:extLst>
          </p:cNvPr>
          <p:cNvSpPr/>
          <p:nvPr/>
        </p:nvSpPr>
        <p:spPr>
          <a:xfrm rot="10800000">
            <a:off x="4743251" y="5277854"/>
            <a:ext cx="292585" cy="390113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4682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Two_columns_of_icon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resentation*conference*powerpoint*projector*screen*slidedeck*slideshow**discussion*lecture*meeting*person*slide*teacher*watch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resentation*conference*powerpoint*projector*screen*slidedeck*slideshow**discussion*lecture*meeting*person*slide*teacher*watch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ir*flight*plane*transport*industries*vehicle*aeronautics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irport*airplane*flight*infrastructure*jet*logistics*transport*transportation*international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ticky_notes_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ckage*mail*mailing*moving*parcel*post*present*receptacle*shipment*shipping*stamp*tape*load*gift*freight*bin*box*cardboard*cargo*carrier*carton*case*crate*delivery*distribution*express*wrapping pap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iness peop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nimations_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s Slide Master">
  <a:themeElements>
    <a:clrScheme name="ALLPPT-107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62949"/>
      </a:accent1>
      <a:accent2>
        <a:srgbClr val="F07624"/>
      </a:accent2>
      <a:accent3>
        <a:srgbClr val="F4BD2D"/>
      </a:accent3>
      <a:accent4>
        <a:srgbClr val="1ED4DE"/>
      </a:accent4>
      <a:accent5>
        <a:srgbClr val="1C7DE1"/>
      </a:accent5>
      <a:accent6>
        <a:srgbClr val="CBCBCB"/>
      </a:accent6>
      <a:hlink>
        <a:srgbClr val="FFFFFF"/>
      </a:hlink>
      <a:folHlink>
        <a:srgbClr val="00000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71</TotalTime>
  <Words>2349</Words>
  <Application>Microsoft Office PowerPoint</Application>
  <PresentationFormat>Widescreen</PresentationFormat>
  <Paragraphs>461</Paragraphs>
  <Slides>30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0</vt:i4>
      </vt:variant>
    </vt:vector>
  </HeadingPairs>
  <TitlesOfParts>
    <vt:vector size="39" baseType="lpstr">
      <vt:lpstr>Arial</vt:lpstr>
      <vt:lpstr>Arial Black</vt:lpstr>
      <vt:lpstr>Calibri</vt:lpstr>
      <vt:lpstr>Calibri Light</vt:lpstr>
      <vt:lpstr>HelveticaNeueLT Std Blk Cn</vt:lpstr>
      <vt:lpstr>HelveticaNeueLTStd-HvCn</vt:lpstr>
      <vt:lpstr>Wingdings</vt:lpstr>
      <vt:lpstr>Office Theme</vt:lpstr>
      <vt:lpstr>Contents Slide Master</vt:lpstr>
      <vt:lpstr>PowerPoint Presentation</vt:lpstr>
      <vt:lpstr>PowerPoint Presentation</vt:lpstr>
      <vt:lpstr>PowerPoint Presentation</vt:lpstr>
      <vt:lpstr>Applicability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Regulator 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VSEC</dc:title>
  <dc:creator>Bheki Ngiba</dc:creator>
  <cp:lastModifiedBy>Maria Spyridis</cp:lastModifiedBy>
  <cp:revision>58</cp:revision>
  <dcterms:created xsi:type="dcterms:W3CDTF">2021-02-26T11:15:33Z</dcterms:created>
  <dcterms:modified xsi:type="dcterms:W3CDTF">2024-10-01T14:2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2-26T00:00:00Z</vt:filetime>
  </property>
  <property fmtid="{D5CDD505-2E9C-101B-9397-08002B2CF9AE}" pid="3" name="Creator">
    <vt:lpwstr>Adobe InDesign 16.0 (Macintosh)</vt:lpwstr>
  </property>
  <property fmtid="{D5CDD505-2E9C-101B-9397-08002B2CF9AE}" pid="4" name="LastSaved">
    <vt:filetime>2021-02-26T00:00:00Z</vt:filetime>
  </property>
</Properties>
</file>